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72" r:id="rId1"/>
    <p:sldMasterId id="2147483954" r:id="rId2"/>
  </p:sldMasterIdLst>
  <p:notesMasterIdLst>
    <p:notesMasterId r:id="rId21"/>
  </p:notesMasterIdLst>
  <p:handoutMasterIdLst>
    <p:handoutMasterId r:id="rId22"/>
  </p:handoutMasterIdLst>
  <p:sldIdLst>
    <p:sldId id="256" r:id="rId3"/>
    <p:sldId id="367" r:id="rId4"/>
    <p:sldId id="310" r:id="rId5"/>
    <p:sldId id="374" r:id="rId6"/>
    <p:sldId id="325" r:id="rId7"/>
    <p:sldId id="282" r:id="rId8"/>
    <p:sldId id="380" r:id="rId9"/>
    <p:sldId id="384" r:id="rId10"/>
    <p:sldId id="309" r:id="rId11"/>
    <p:sldId id="391" r:id="rId12"/>
    <p:sldId id="392" r:id="rId13"/>
    <p:sldId id="390" r:id="rId14"/>
    <p:sldId id="329" r:id="rId15"/>
    <p:sldId id="288" r:id="rId16"/>
    <p:sldId id="295" r:id="rId17"/>
    <p:sldId id="388" r:id="rId18"/>
    <p:sldId id="393" r:id="rId19"/>
    <p:sldId id="377" r:id="rId20"/>
  </p:sldIdLst>
  <p:sldSz cx="9144000" cy="5143500" type="screen16x9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60" userDrawn="1">
          <p15:clr>
            <a:srgbClr val="A4A3A4"/>
          </p15:clr>
        </p15:guide>
        <p15:guide id="2" pos="1920" userDrawn="1">
          <p15:clr>
            <a:srgbClr val="A4A3A4"/>
          </p15:clr>
        </p15:guide>
        <p15:guide id="4" pos="2808" userDrawn="1">
          <p15:clr>
            <a:srgbClr val="A4A3A4"/>
          </p15:clr>
        </p15:guide>
        <p15:guide id="5" pos="2952" userDrawn="1">
          <p15:clr>
            <a:srgbClr val="A4A3A4"/>
          </p15:clr>
        </p15:guide>
        <p15:guide id="6" pos="3672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pos="5400" userDrawn="1">
          <p15:clr>
            <a:srgbClr val="A4A3A4"/>
          </p15:clr>
        </p15:guide>
        <p15:guide id="9" orient="horz" pos="198" userDrawn="1">
          <p15:clr>
            <a:srgbClr val="A4A3A4"/>
          </p15:clr>
        </p15:guide>
        <p15:guide id="10" orient="horz" pos="486" userDrawn="1">
          <p15:clr>
            <a:srgbClr val="A4A3A4"/>
          </p15:clr>
        </p15:guide>
        <p15:guide id="11" orient="horz" pos="594" userDrawn="1">
          <p15:clr>
            <a:srgbClr val="A4A3A4"/>
          </p15:clr>
        </p15:guide>
        <p15:guide id="12" orient="horz" pos="1404" userDrawn="1">
          <p15:clr>
            <a:srgbClr val="A4A3A4"/>
          </p15:clr>
        </p15:guide>
        <p15:guide id="13" orient="horz" pos="1782" userDrawn="1">
          <p15:clr>
            <a:srgbClr val="A4A3A4"/>
          </p15:clr>
        </p15:guide>
        <p15:guide id="14" orient="horz" pos="286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1D2E7"/>
    <a:srgbClr val="5DB8D8"/>
    <a:srgbClr val="A8D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042"/>
    <p:restoredTop sz="94903"/>
  </p:normalViewPr>
  <p:slideViewPr>
    <p:cSldViewPr snapToGrid="0" snapToObjects="1" showGuides="1">
      <p:cViewPr varScale="1">
        <p:scale>
          <a:sx n="146" d="100"/>
          <a:sy n="146" d="100"/>
        </p:scale>
        <p:origin x="960" y="168"/>
      </p:cViewPr>
      <p:guideLst>
        <p:guide pos="360"/>
        <p:guide pos="1920"/>
        <p:guide pos="2808"/>
        <p:guide pos="2952"/>
        <p:guide pos="3672"/>
        <p:guide pos="3840"/>
        <p:guide pos="5400"/>
        <p:guide orient="horz" pos="198"/>
        <p:guide orient="horz" pos="486"/>
        <p:guide orient="horz" pos="594"/>
        <p:guide orient="horz" pos="1404"/>
        <p:guide orient="horz" pos="1782"/>
        <p:guide orient="horz" pos="286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22" d="100"/>
          <a:sy n="122" d="100"/>
        </p:scale>
        <p:origin x="3864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889765-C4AF-5A44-BE94-2FE8F5D16D95}" type="datetimeFigureOut">
              <a:rPr lang="en-US" smtClean="0"/>
              <a:t>7/7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DBA5AC-892B-DB43-AB5E-966B3E7B12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42077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B01B7F-8914-3E42-94FB-4BB95DD4147B}" type="datetimeFigureOut">
              <a:rPr lang="en-US" smtClean="0"/>
              <a:t>7/7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90448A-C8D7-234E-91D2-F8ABA6AC97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98609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0448A-C8D7-234E-91D2-F8ABA6AC973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0358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https://community.anitab.org/event/hopperx1-seattle/edelman-logo/" TargetMode="Externa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unity.anitab.org/event/hopperx1-seattle/edelman-logo/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EC horizontal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0" y="1680658"/>
            <a:ext cx="7059168" cy="557336"/>
          </a:xfrm>
        </p:spPr>
        <p:txBody>
          <a:bodyPr anchor="t" anchorCtr="0">
            <a:noAutofit/>
          </a:bodyPr>
          <a:lstStyle>
            <a:lvl1pPr algn="l">
              <a:defRPr sz="2100" b="1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1500" y="2322660"/>
            <a:ext cx="7059168" cy="506266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71501" y="2904490"/>
            <a:ext cx="7059613" cy="290274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Month Year</a:t>
            </a:r>
          </a:p>
        </p:txBody>
      </p:sp>
      <p:sp>
        <p:nvSpPr>
          <p:cNvPr id="14" name="Parallelogram 13"/>
          <p:cNvSpPr/>
          <p:nvPr userDrawn="1"/>
        </p:nvSpPr>
        <p:spPr>
          <a:xfrm>
            <a:off x="0" y="1680658"/>
            <a:ext cx="519378" cy="251011"/>
          </a:xfrm>
          <a:prstGeom prst="parallelogram">
            <a:avLst>
              <a:gd name="adj" fmla="val 59371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 descr="Metis">
            <a:hlinkClick r:id="rId2" tooltip="metis-logo"/>
            <a:extLst>
              <a:ext uri="{FF2B5EF4-FFF2-40B4-BE49-F238E27FC236}">
                <a16:creationId xmlns:a16="http://schemas.microsoft.com/office/drawing/2014/main" id="{1937BCDF-11FF-644E-92CC-7239B4DA509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493" y="581001"/>
            <a:ext cx="605385" cy="938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97037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Column, 1/3 Column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71500" y="942974"/>
            <a:ext cx="5257800" cy="3609975"/>
          </a:xfrm>
        </p:spPr>
        <p:txBody>
          <a:bodyPr>
            <a:noAutofit/>
          </a:bodyPr>
          <a:lstStyle>
            <a:lvl1pPr marL="136525" indent="-13652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822960" indent="-10795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942974"/>
            <a:ext cx="2476500" cy="3609975"/>
          </a:xfrm>
        </p:spPr>
        <p:txBody>
          <a:bodyPr>
            <a:noAutofit/>
          </a:bodyPr>
          <a:lstStyle>
            <a:lvl1pPr marL="136525" indent="-13652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822960" indent="-10795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Col, 1/3 Col (right) -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71500" y="1327022"/>
            <a:ext cx="5257800" cy="322592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942975"/>
            <a:ext cx="52578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6096000" y="1327022"/>
            <a:ext cx="2476500" cy="322592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6096000" y="942975"/>
            <a:ext cx="24765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hart,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571500" y="1656206"/>
            <a:ext cx="8001000" cy="2896743"/>
          </a:xfrm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marR="0" indent="-109728" algn="l" defTabSz="9144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Tx/>
              <a:buSzTx/>
              <a:buFont typeface="Wingdings" charset="2"/>
              <a:buChar char="§"/>
              <a:tabLst/>
              <a:defRPr sz="1300"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300"/>
            </a:lvl4pPr>
            <a:lvl5pPr marL="822960" indent="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>
                <a:tab pos="223838" algn="dec"/>
              </a:tabLst>
              <a:defRPr/>
            </a:lvl5pPr>
            <a:lvl6pPr marL="109538" indent="-10953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>
                <a:tab pos="223838" algn="l"/>
              </a:tabLst>
              <a:defRPr sz="1300"/>
            </a:lvl6pPr>
            <a:lvl7pPr marL="109538" marR="0" indent="-109538" algn="l" defTabSz="9144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Tx/>
              <a:buSzTx/>
              <a:buFont typeface="Wingdings" charset="2"/>
              <a:buChar char="§"/>
              <a:tabLst/>
              <a:defRPr sz="1300"/>
            </a:lvl7pPr>
          </a:lstStyle>
          <a:p>
            <a:pPr lvl="0"/>
            <a:r>
              <a:rPr lang="en-US" dirty="0"/>
              <a:t>Insert Chart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71500" y="942975"/>
            <a:ext cx="5806440" cy="56235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hart, Text Box -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571500" y="2033778"/>
            <a:ext cx="8001000" cy="2519172"/>
          </a:xfrm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822960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Insert Chart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1649730"/>
            <a:ext cx="80010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 sz="16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71500" y="942975"/>
            <a:ext cx="5806440" cy="56235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hart,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571500" y="1656206"/>
            <a:ext cx="8001000" cy="2896743"/>
          </a:xfrm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marR="0" indent="-109728" algn="l" defTabSz="9144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Tx/>
              <a:buSzTx/>
              <a:buFont typeface="Wingdings" charset="2"/>
              <a:buChar char="§"/>
              <a:tabLst/>
              <a:defRPr sz="1300"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300"/>
            </a:lvl4pPr>
            <a:lvl5pPr marL="822960" indent="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>
                <a:tab pos="223838" algn="dec"/>
              </a:tabLst>
              <a:defRPr/>
            </a:lvl5pPr>
            <a:lvl6pPr marL="109538" indent="-10953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>
                <a:tab pos="223838" algn="l"/>
              </a:tabLst>
              <a:defRPr sz="1300"/>
            </a:lvl6pPr>
            <a:lvl7pPr marL="109538" marR="0" indent="-109538" algn="l" defTabSz="9144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Tx/>
              <a:buSzTx/>
              <a:buFont typeface="Wingdings" charset="2"/>
              <a:buChar char="§"/>
              <a:tabLst/>
              <a:defRPr sz="1300"/>
            </a:lvl7pPr>
          </a:lstStyle>
          <a:p>
            <a:pPr lvl="0"/>
            <a:r>
              <a:rPr lang="en-US" dirty="0"/>
              <a:t>Insert Chart Her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71500" y="942975"/>
            <a:ext cx="5806440" cy="562356"/>
          </a:xfrm>
          <a:solidFill>
            <a:schemeClr val="accent1"/>
          </a:solidFill>
        </p:spPr>
        <p:txBody>
          <a:bodyPr lIns="91440" tIns="91440" rIns="91440" bIns="91440"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Kicker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hart, Kicker -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571500" y="2033778"/>
            <a:ext cx="8001000" cy="2519172"/>
          </a:xfrm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822960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Insert Chart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1649730"/>
            <a:ext cx="80010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71500" y="942975"/>
            <a:ext cx="5806440" cy="562356"/>
          </a:xfrm>
          <a:solidFill>
            <a:schemeClr val="accent1"/>
          </a:solidFill>
        </p:spPr>
        <p:txBody>
          <a:bodyPr lIns="91440" tIns="91440" rIns="91440" bIns="91440"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Kicker</a:t>
            </a:r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-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71500" y="1327022"/>
            <a:ext cx="2476500" cy="322592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942975"/>
            <a:ext cx="24765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3314700" y="1327022"/>
            <a:ext cx="2514600" cy="322592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314700" y="942975"/>
            <a:ext cx="25146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/>
          </p:nvPr>
        </p:nvSpPr>
        <p:spPr>
          <a:xfrm>
            <a:off x="6096000" y="1327022"/>
            <a:ext cx="2476500" cy="322592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6096000" y="942975"/>
            <a:ext cx="24765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Images -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571500" y="1327022"/>
            <a:ext cx="2476500" cy="3225928"/>
          </a:xfrm>
        </p:spPr>
        <p:txBody>
          <a:bodyPr anchor="t"/>
          <a:lstStyle>
            <a:lvl1pPr marL="0" indent="0">
              <a:buNone/>
              <a:defRPr baseline="0"/>
            </a:lvl1pPr>
          </a:lstStyle>
          <a:p>
            <a:r>
              <a:rPr lang="en-US"/>
              <a:t>Insert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314700" y="1327022"/>
            <a:ext cx="2514600" cy="3225928"/>
          </a:xfrm>
        </p:spPr>
        <p:txBody>
          <a:bodyPr anchor="t"/>
          <a:lstStyle>
            <a:lvl1pPr marL="0" indent="0">
              <a:buNone/>
              <a:defRPr baseline="0"/>
            </a:lvl1pPr>
          </a:lstStyle>
          <a:p>
            <a:r>
              <a:rPr lang="en-US"/>
              <a:t>Insert Picture</a:t>
            </a:r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096000" y="1327022"/>
            <a:ext cx="2476500" cy="3225928"/>
          </a:xfrm>
        </p:spPr>
        <p:txBody>
          <a:bodyPr anchor="t"/>
          <a:lstStyle>
            <a:lvl1pPr marL="0" indent="0">
              <a:buNone/>
              <a:defRPr baseline="0"/>
            </a:lvl1pPr>
          </a:lstStyle>
          <a:p>
            <a:r>
              <a:rPr lang="en-US"/>
              <a:t>Insert Picture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571500" y="942974"/>
            <a:ext cx="24765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3314700" y="942974"/>
            <a:ext cx="25146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6096000" y="942974"/>
            <a:ext cx="24765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 Col (right),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71500" y="942974"/>
            <a:ext cx="5257800" cy="3609975"/>
          </a:xfrm>
        </p:spPr>
        <p:txBody>
          <a:bodyPr>
            <a:noAutofit/>
          </a:bodyPr>
          <a:lstStyle>
            <a:lvl1pPr marL="136525" indent="-13652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822960" indent="-10795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942975"/>
            <a:ext cx="2476500" cy="2167128"/>
          </a:xfrm>
        </p:spPr>
        <p:txBody>
          <a:bodyPr>
            <a:noAutofit/>
          </a:bodyPr>
          <a:lstStyle>
            <a:lvl1pPr marL="136525" indent="-13652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822960" indent="-10795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6095999" y="3295268"/>
            <a:ext cx="2476501" cy="1257681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Kicker</a:t>
            </a:r>
          </a:p>
        </p:txBody>
      </p:sp>
      <p:sp>
        <p:nvSpPr>
          <p:cNvPr id="16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 Col (right), Kicker -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71500" y="1327022"/>
            <a:ext cx="5257800" cy="322592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942975"/>
            <a:ext cx="52578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6096000" y="1327023"/>
            <a:ext cx="2476500" cy="1780794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6096000" y="942975"/>
            <a:ext cx="24765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9" hasCustomPrompt="1"/>
          </p:nvPr>
        </p:nvSpPr>
        <p:spPr>
          <a:xfrm>
            <a:off x="6095999" y="3295268"/>
            <a:ext cx="2476501" cy="1257681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Kicker</a:t>
            </a:r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571500" y="504062"/>
            <a:ext cx="5888736" cy="4048887"/>
          </a:xfrm>
        </p:spPr>
        <p:txBody>
          <a:bodyPr anchor="t">
            <a:normAutofit/>
          </a:bodyPr>
          <a:lstStyle>
            <a:lvl1pPr marL="0" indent="0">
              <a:buNone/>
              <a:defRPr sz="13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 sz="2100"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 sz="2100"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 sz="2100"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 sz="21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Table of Content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6739128" y="0"/>
            <a:ext cx="2404872" cy="51435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, 3 Factett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1"/>
          <p:cNvSpPr>
            <a:spLocks noGrp="1"/>
          </p:cNvSpPr>
          <p:nvPr>
            <p:ph sz="quarter" idx="20" hasCustomPrompt="1"/>
          </p:nvPr>
        </p:nvSpPr>
        <p:spPr>
          <a:xfrm>
            <a:off x="6096000" y="942975"/>
            <a:ext cx="2471926" cy="8639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7" name="Content Placeholder 11"/>
          <p:cNvSpPr>
            <a:spLocks noGrp="1"/>
          </p:cNvSpPr>
          <p:nvPr>
            <p:ph sz="quarter" idx="21" hasCustomPrompt="1"/>
          </p:nvPr>
        </p:nvSpPr>
        <p:spPr>
          <a:xfrm>
            <a:off x="6096000" y="2191203"/>
            <a:ext cx="2471926" cy="8639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8" name="Content Placeholder 11"/>
          <p:cNvSpPr>
            <a:spLocks noGrp="1"/>
          </p:cNvSpPr>
          <p:nvPr>
            <p:ph sz="quarter" idx="22" hasCustomPrompt="1"/>
          </p:nvPr>
        </p:nvSpPr>
        <p:spPr>
          <a:xfrm>
            <a:off x="6096000" y="3439431"/>
            <a:ext cx="2471926" cy="8639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571500" y="942976"/>
            <a:ext cx="5257800" cy="3614164"/>
          </a:xfrm>
        </p:spPr>
        <p:txBody>
          <a:bodyPr>
            <a:noAutofit/>
          </a:bodyPr>
          <a:lstStyle>
            <a:lvl1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9728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109728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3"/>
            <a:r>
              <a:rPr lang="en-US" dirty="0"/>
              <a:t>Insert Chart or Table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6096122" y="1813797"/>
            <a:ext cx="2480947" cy="24003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charset="2"/>
              <a:buNone/>
              <a:tabLst/>
              <a:defRPr/>
            </a:pPr>
            <a:r>
              <a:rPr lang="en-US" dirty="0"/>
              <a:t>Click to add text</a:t>
            </a:r>
          </a:p>
          <a:p>
            <a:pPr lvl="0"/>
            <a:endParaRPr lang="en-US" dirty="0"/>
          </a:p>
        </p:txBody>
      </p:sp>
      <p:sp>
        <p:nvSpPr>
          <p:cNvPr id="14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6096122" y="3062024"/>
            <a:ext cx="2480947" cy="24003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charset="2"/>
              <a:buNone/>
              <a:tabLst/>
              <a:defRPr/>
            </a:pPr>
            <a:r>
              <a:rPr lang="en-US" dirty="0"/>
              <a:t>Click to add text</a:t>
            </a:r>
          </a:p>
        </p:txBody>
      </p:sp>
      <p:sp>
        <p:nvSpPr>
          <p:cNvPr id="15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6096122" y="4317110"/>
            <a:ext cx="2480947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, 3 Factettes -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1"/>
          <p:cNvSpPr>
            <a:spLocks noGrp="1"/>
          </p:cNvSpPr>
          <p:nvPr>
            <p:ph sz="quarter" idx="20" hasCustomPrompt="1"/>
          </p:nvPr>
        </p:nvSpPr>
        <p:spPr>
          <a:xfrm>
            <a:off x="6095878" y="942975"/>
            <a:ext cx="2472048" cy="8639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7" name="Content Placeholder 11"/>
          <p:cNvSpPr>
            <a:spLocks noGrp="1"/>
          </p:cNvSpPr>
          <p:nvPr>
            <p:ph sz="quarter" idx="21" hasCustomPrompt="1"/>
          </p:nvPr>
        </p:nvSpPr>
        <p:spPr>
          <a:xfrm>
            <a:off x="6095878" y="2191203"/>
            <a:ext cx="2472048" cy="8639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8" name="Content Placeholder 11"/>
          <p:cNvSpPr>
            <a:spLocks noGrp="1"/>
          </p:cNvSpPr>
          <p:nvPr>
            <p:ph sz="quarter" idx="22" hasCustomPrompt="1"/>
          </p:nvPr>
        </p:nvSpPr>
        <p:spPr>
          <a:xfrm>
            <a:off x="6095878" y="3439431"/>
            <a:ext cx="2472048" cy="8639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571500" y="1327022"/>
            <a:ext cx="5257800" cy="3230117"/>
          </a:xfrm>
        </p:spPr>
        <p:txBody>
          <a:bodyPr>
            <a:noAutofit/>
          </a:bodyPr>
          <a:lstStyle>
            <a:lvl1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9728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109728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3"/>
            <a:r>
              <a:rPr lang="en-US" dirty="0"/>
              <a:t>Insert Chart or Tab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942975"/>
            <a:ext cx="52578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6096001" y="1813797"/>
            <a:ext cx="2481069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6096001" y="3062024"/>
            <a:ext cx="2481069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6096001" y="4317110"/>
            <a:ext cx="2481069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,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6096000" y="3295269"/>
            <a:ext cx="2476501" cy="1248156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Kicker</a:t>
            </a:r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Quarters -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71500" y="1327024"/>
            <a:ext cx="3886200" cy="1323212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942975"/>
            <a:ext cx="38862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4686300" y="1327023"/>
            <a:ext cx="3886200" cy="1323212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686300" y="942975"/>
            <a:ext cx="38862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/>
          </p:nvPr>
        </p:nvSpPr>
        <p:spPr>
          <a:xfrm>
            <a:off x="571499" y="3212972"/>
            <a:ext cx="3886200" cy="1344931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571499" y="2828925"/>
            <a:ext cx="38862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1"/>
          </p:nvPr>
        </p:nvSpPr>
        <p:spPr>
          <a:xfrm>
            <a:off x="4686300" y="3208018"/>
            <a:ext cx="3886200" cy="1344931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4686300" y="2823971"/>
            <a:ext cx="38862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, 3 Column (b) -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571500" y="3212972"/>
            <a:ext cx="2476500" cy="133997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2828925"/>
            <a:ext cx="24765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3314700" y="3212972"/>
            <a:ext cx="2514600" cy="133997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314700" y="2828925"/>
            <a:ext cx="25146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6096000" y="3212972"/>
            <a:ext cx="2476500" cy="133997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6096000" y="2828925"/>
            <a:ext cx="24765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1" hasCustomPrompt="1"/>
          </p:nvPr>
        </p:nvSpPr>
        <p:spPr>
          <a:xfrm>
            <a:off x="571500" y="1327403"/>
            <a:ext cx="8001000" cy="132816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600" baseline="0"/>
            </a:lvl1pPr>
          </a:lstStyle>
          <a:p>
            <a:pPr lvl="0"/>
            <a:r>
              <a:rPr lang="en-US" dirty="0"/>
              <a:t>Insert Chart Her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71499" y="943355"/>
            <a:ext cx="80010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"/>
          <p:cNvSpPr/>
          <p:nvPr userDrawn="1"/>
        </p:nvSpPr>
        <p:spPr>
          <a:xfrm>
            <a:off x="0" y="942974"/>
            <a:ext cx="9144000" cy="3609975"/>
          </a:xfrm>
          <a:custGeom>
            <a:avLst/>
            <a:gdLst>
              <a:gd name="connsiteX0" fmla="*/ 0 w 9144000"/>
              <a:gd name="connsiteY0" fmla="*/ 0 h 4740275"/>
              <a:gd name="connsiteX1" fmla="*/ 9144000 w 9144000"/>
              <a:gd name="connsiteY1" fmla="*/ 0 h 4740275"/>
              <a:gd name="connsiteX2" fmla="*/ 9144000 w 9144000"/>
              <a:gd name="connsiteY2" fmla="*/ 4740275 h 4740275"/>
              <a:gd name="connsiteX3" fmla="*/ 0 w 9144000"/>
              <a:gd name="connsiteY3" fmla="*/ 4740275 h 4740275"/>
              <a:gd name="connsiteX4" fmla="*/ 0 w 9144000"/>
              <a:gd name="connsiteY4" fmla="*/ 0 h 4740275"/>
              <a:gd name="connsiteX0" fmla="*/ 0 w 9144000"/>
              <a:gd name="connsiteY0" fmla="*/ 0 h 4740275"/>
              <a:gd name="connsiteX1" fmla="*/ 9144000 w 9144000"/>
              <a:gd name="connsiteY1" fmla="*/ 0 h 4740275"/>
              <a:gd name="connsiteX2" fmla="*/ 6158753 w 9144000"/>
              <a:gd name="connsiteY2" fmla="*/ 4731310 h 4740275"/>
              <a:gd name="connsiteX3" fmla="*/ 0 w 9144000"/>
              <a:gd name="connsiteY3" fmla="*/ 4740275 h 4740275"/>
              <a:gd name="connsiteX4" fmla="*/ 0 w 9144000"/>
              <a:gd name="connsiteY4" fmla="*/ 0 h 4740275"/>
              <a:gd name="connsiteX0" fmla="*/ 0 w 9144000"/>
              <a:gd name="connsiteY0" fmla="*/ 0 h 4740275"/>
              <a:gd name="connsiteX1" fmla="*/ 9144000 w 9144000"/>
              <a:gd name="connsiteY1" fmla="*/ 0 h 4740275"/>
              <a:gd name="connsiteX2" fmla="*/ 6822141 w 9144000"/>
              <a:gd name="connsiteY2" fmla="*/ 4731310 h 4740275"/>
              <a:gd name="connsiteX3" fmla="*/ 0 w 9144000"/>
              <a:gd name="connsiteY3" fmla="*/ 4740275 h 4740275"/>
              <a:gd name="connsiteX4" fmla="*/ 0 w 9144000"/>
              <a:gd name="connsiteY4" fmla="*/ 0 h 4740275"/>
              <a:gd name="connsiteX0" fmla="*/ 0 w 9144000"/>
              <a:gd name="connsiteY0" fmla="*/ 0 h 4740275"/>
              <a:gd name="connsiteX1" fmla="*/ 9144000 w 9144000"/>
              <a:gd name="connsiteY1" fmla="*/ 0 h 4740275"/>
              <a:gd name="connsiteX2" fmla="*/ 6642847 w 9144000"/>
              <a:gd name="connsiteY2" fmla="*/ 4731310 h 4740275"/>
              <a:gd name="connsiteX3" fmla="*/ 0 w 9144000"/>
              <a:gd name="connsiteY3" fmla="*/ 4740275 h 4740275"/>
              <a:gd name="connsiteX4" fmla="*/ 0 w 9144000"/>
              <a:gd name="connsiteY4" fmla="*/ 0 h 4740275"/>
              <a:gd name="connsiteX0" fmla="*/ 0 w 9144000"/>
              <a:gd name="connsiteY0" fmla="*/ 0 h 4749239"/>
              <a:gd name="connsiteX1" fmla="*/ 9144000 w 9144000"/>
              <a:gd name="connsiteY1" fmla="*/ 0 h 4749239"/>
              <a:gd name="connsiteX2" fmla="*/ 6660776 w 9144000"/>
              <a:gd name="connsiteY2" fmla="*/ 4749239 h 4749239"/>
              <a:gd name="connsiteX3" fmla="*/ 0 w 9144000"/>
              <a:gd name="connsiteY3" fmla="*/ 4740275 h 4749239"/>
              <a:gd name="connsiteX4" fmla="*/ 0 w 9144000"/>
              <a:gd name="connsiteY4" fmla="*/ 0 h 4749239"/>
              <a:gd name="connsiteX0" fmla="*/ 0 w 9144000"/>
              <a:gd name="connsiteY0" fmla="*/ 0 h 4740275"/>
              <a:gd name="connsiteX1" fmla="*/ 9144000 w 9144000"/>
              <a:gd name="connsiteY1" fmla="*/ 0 h 4740275"/>
              <a:gd name="connsiteX2" fmla="*/ 6549939 w 9144000"/>
              <a:gd name="connsiteY2" fmla="*/ 4732614 h 4740275"/>
              <a:gd name="connsiteX3" fmla="*/ 0 w 9144000"/>
              <a:gd name="connsiteY3" fmla="*/ 4740275 h 4740275"/>
              <a:gd name="connsiteX4" fmla="*/ 0 w 9144000"/>
              <a:gd name="connsiteY4" fmla="*/ 0 h 4740275"/>
              <a:gd name="connsiteX0" fmla="*/ 0 w 9144000"/>
              <a:gd name="connsiteY0" fmla="*/ 0 h 4740275"/>
              <a:gd name="connsiteX1" fmla="*/ 9144000 w 9144000"/>
              <a:gd name="connsiteY1" fmla="*/ 0 h 4740275"/>
              <a:gd name="connsiteX2" fmla="*/ 6533314 w 9144000"/>
              <a:gd name="connsiteY2" fmla="*/ 4727072 h 4740275"/>
              <a:gd name="connsiteX3" fmla="*/ 0 w 9144000"/>
              <a:gd name="connsiteY3" fmla="*/ 4740275 h 4740275"/>
              <a:gd name="connsiteX4" fmla="*/ 0 w 9144000"/>
              <a:gd name="connsiteY4" fmla="*/ 0 h 4740275"/>
              <a:gd name="connsiteX0" fmla="*/ 0 w 9144000"/>
              <a:gd name="connsiteY0" fmla="*/ 0 h 4727072"/>
              <a:gd name="connsiteX1" fmla="*/ 9144000 w 9144000"/>
              <a:gd name="connsiteY1" fmla="*/ 0 h 4727072"/>
              <a:gd name="connsiteX2" fmla="*/ 6533314 w 9144000"/>
              <a:gd name="connsiteY2" fmla="*/ 4727072 h 4727072"/>
              <a:gd name="connsiteX3" fmla="*/ 0 w 9144000"/>
              <a:gd name="connsiteY3" fmla="*/ 3604494 h 4727072"/>
              <a:gd name="connsiteX4" fmla="*/ 0 w 9144000"/>
              <a:gd name="connsiteY4" fmla="*/ 0 h 4727072"/>
              <a:gd name="connsiteX0" fmla="*/ 0 w 9144000"/>
              <a:gd name="connsiteY0" fmla="*/ 0 h 3604494"/>
              <a:gd name="connsiteX1" fmla="*/ 9144000 w 9144000"/>
              <a:gd name="connsiteY1" fmla="*/ 0 h 3604494"/>
              <a:gd name="connsiteX2" fmla="*/ 7158956 w 9144000"/>
              <a:gd name="connsiteY2" fmla="*/ 3600916 h 3604494"/>
              <a:gd name="connsiteX3" fmla="*/ 0 w 9144000"/>
              <a:gd name="connsiteY3" fmla="*/ 3604494 h 3604494"/>
              <a:gd name="connsiteX4" fmla="*/ 0 w 9144000"/>
              <a:gd name="connsiteY4" fmla="*/ 0 h 360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3604494">
                <a:moveTo>
                  <a:pt x="0" y="0"/>
                </a:moveTo>
                <a:lnTo>
                  <a:pt x="9144000" y="0"/>
                </a:lnTo>
                <a:lnTo>
                  <a:pt x="7158956" y="3600916"/>
                </a:lnTo>
                <a:lnTo>
                  <a:pt x="0" y="3604494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</p:txBody>
      </p:sp>
      <p:sp>
        <p:nvSpPr>
          <p:cNvPr id="10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571500" y="1442493"/>
            <a:ext cx="5524501" cy="2553790"/>
          </a:xfrm>
          <a:noFill/>
        </p:spPr>
        <p:txBody>
          <a:bodyPr lIns="0" tIns="91440" rIns="91440" bIns="91440" anchor="ctr">
            <a:noAutofit/>
          </a:bodyPr>
          <a:lstStyle>
            <a:lvl1pPr marL="0" indent="0">
              <a:lnSpc>
                <a:spcPct val="100000"/>
              </a:lnSpc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Quot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Quotes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571500" y="942975"/>
            <a:ext cx="5524500" cy="1714500"/>
          </a:xfrm>
        </p:spPr>
        <p:txBody>
          <a:bodyPr anchor="ctr"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164592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>
                <a:solidFill>
                  <a:schemeClr val="accent3"/>
                </a:solidFill>
                <a:latin typeface="+mj-lt"/>
              </a:defRPr>
            </a:lvl2pPr>
            <a:lvl3pPr marL="34747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>
                <a:solidFill>
                  <a:schemeClr val="accent3"/>
                </a:solidFill>
                <a:latin typeface="+mj-lt"/>
              </a:defRPr>
            </a:lvl3pPr>
            <a:lvl4pPr marL="53035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>
                <a:solidFill>
                  <a:schemeClr val="accent3"/>
                </a:solidFill>
                <a:latin typeface="+mj-lt"/>
              </a:defRPr>
            </a:lvl4pPr>
            <a:lvl5pPr marL="71501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None/>
              <a:tabLst/>
              <a:defRPr sz="1600">
                <a:solidFill>
                  <a:schemeClr val="accent3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Quote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571500" y="2825876"/>
            <a:ext cx="5524500" cy="1727073"/>
          </a:xfrm>
        </p:spPr>
        <p:txBody>
          <a:bodyPr anchor="ctr"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164592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>
                <a:solidFill>
                  <a:schemeClr val="accent3"/>
                </a:solidFill>
                <a:latin typeface="+mj-lt"/>
              </a:defRPr>
            </a:lvl2pPr>
            <a:lvl3pPr marL="34747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>
                <a:solidFill>
                  <a:schemeClr val="accent3"/>
                </a:solidFill>
                <a:latin typeface="+mj-lt"/>
              </a:defRPr>
            </a:lvl3pPr>
            <a:lvl4pPr marL="53035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>
                <a:solidFill>
                  <a:schemeClr val="accent3"/>
                </a:solidFill>
                <a:latin typeface="+mj-lt"/>
              </a:defRPr>
            </a:lvl4pPr>
            <a:lvl5pPr marL="71501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None/>
              <a:tabLst/>
              <a:defRPr sz="1600">
                <a:solidFill>
                  <a:schemeClr val="accent3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Quote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3 Stair Steps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571500" y="3709034"/>
            <a:ext cx="2476500" cy="843916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3324986"/>
            <a:ext cx="24765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3314700" y="2928746"/>
            <a:ext cx="2514600" cy="1624204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314700" y="2544698"/>
            <a:ext cx="25146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6096000" y="2145410"/>
            <a:ext cx="2476500" cy="2407540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6096000" y="1761362"/>
            <a:ext cx="24765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21" hasCustomPrompt="1"/>
          </p:nvPr>
        </p:nvSpPr>
        <p:spPr>
          <a:xfrm>
            <a:off x="571501" y="942975"/>
            <a:ext cx="2130425" cy="115847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4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816075" y="2504313"/>
            <a:ext cx="1691640" cy="2048638"/>
          </a:xfrm>
          <a:noFill/>
        </p:spPr>
        <p:txBody>
          <a:bodyPr lIns="0"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816075" y="2120265"/>
            <a:ext cx="1691640" cy="384048"/>
          </a:xfrm>
        </p:spPr>
        <p:txBody>
          <a:bodyPr>
            <a:noAutofit/>
          </a:bodyPr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2767338" y="2504313"/>
            <a:ext cx="1691640" cy="2048638"/>
          </a:xfrm>
          <a:noFill/>
        </p:spPr>
        <p:txBody>
          <a:bodyPr lIns="0"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2767338" y="2120265"/>
            <a:ext cx="1691640" cy="384048"/>
          </a:xfrm>
        </p:spPr>
        <p:txBody>
          <a:bodyPr>
            <a:noAutofit/>
          </a:bodyPr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4697335" y="2504312"/>
            <a:ext cx="1691640" cy="2049133"/>
          </a:xfrm>
          <a:noFill/>
        </p:spPr>
        <p:txBody>
          <a:bodyPr lIns="0"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697335" y="2120758"/>
            <a:ext cx="1691640" cy="384048"/>
          </a:xfrm>
        </p:spPr>
        <p:txBody>
          <a:bodyPr>
            <a:noAutofit/>
          </a:bodyPr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Content Placeholder 9"/>
          <p:cNvSpPr>
            <a:spLocks noGrp="1"/>
          </p:cNvSpPr>
          <p:nvPr>
            <p:ph sz="quarter" idx="21" hasCustomPrompt="1"/>
          </p:nvPr>
        </p:nvSpPr>
        <p:spPr>
          <a:xfrm>
            <a:off x="6616700" y="2504311"/>
            <a:ext cx="1691640" cy="2048639"/>
          </a:xfrm>
          <a:noFill/>
        </p:spPr>
        <p:txBody>
          <a:bodyPr lIns="0"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616700" y="2120265"/>
            <a:ext cx="1691640" cy="384048"/>
          </a:xfrm>
        </p:spPr>
        <p:txBody>
          <a:bodyPr>
            <a:noAutofit/>
          </a:bodyPr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4 Descriptions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31" hasCustomPrompt="1"/>
          </p:nvPr>
        </p:nvSpPr>
        <p:spPr>
          <a:xfrm>
            <a:off x="797892" y="942975"/>
            <a:ext cx="1376813" cy="812320"/>
          </a:xfrm>
          <a:solidFill>
            <a:schemeClr val="accent1"/>
          </a:solidFill>
        </p:spPr>
        <p:txBody>
          <a:bodyPr lIns="91440" tIns="91440" rIns="91440" bIns="9144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16459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2pPr>
            <a:lvl3pPr marL="34747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3pPr>
            <a:lvl4pPr marL="53035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4pPr>
            <a:lvl5pPr marL="71323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nsert Image or Text Here</a:t>
            </a:r>
          </a:p>
        </p:txBody>
      </p:sp>
      <p:sp>
        <p:nvSpPr>
          <p:cNvPr id="22" name="Content Placeholder 8"/>
          <p:cNvSpPr>
            <a:spLocks noGrp="1"/>
          </p:cNvSpPr>
          <p:nvPr>
            <p:ph sz="quarter" idx="32" hasCustomPrompt="1"/>
          </p:nvPr>
        </p:nvSpPr>
        <p:spPr>
          <a:xfrm>
            <a:off x="793961" y="1874031"/>
            <a:ext cx="1380744" cy="813816"/>
          </a:xfrm>
          <a:solidFill>
            <a:schemeClr val="accent1"/>
          </a:solidFill>
        </p:spPr>
        <p:txBody>
          <a:bodyPr lIns="91440" tIns="91440" rIns="91440" bIns="9144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16459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2pPr>
            <a:lvl3pPr marL="34747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3pPr>
            <a:lvl4pPr marL="53035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4pPr>
            <a:lvl5pPr marL="71323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nsert Image or Text Here</a:t>
            </a:r>
          </a:p>
        </p:txBody>
      </p:sp>
      <p:sp>
        <p:nvSpPr>
          <p:cNvPr id="24" name="Content Placeholder 8"/>
          <p:cNvSpPr>
            <a:spLocks noGrp="1"/>
          </p:cNvSpPr>
          <p:nvPr>
            <p:ph sz="quarter" idx="33" hasCustomPrompt="1"/>
          </p:nvPr>
        </p:nvSpPr>
        <p:spPr>
          <a:xfrm>
            <a:off x="793961" y="2806583"/>
            <a:ext cx="1380744" cy="813816"/>
          </a:xfrm>
          <a:solidFill>
            <a:schemeClr val="accent1"/>
          </a:solidFill>
        </p:spPr>
        <p:txBody>
          <a:bodyPr lIns="91440" tIns="91440" rIns="91440" bIns="9144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16459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2pPr>
            <a:lvl3pPr marL="34747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3pPr>
            <a:lvl4pPr marL="53035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4pPr>
            <a:lvl5pPr marL="71323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nsert Image or Text Here</a:t>
            </a:r>
          </a:p>
        </p:txBody>
      </p:sp>
      <p:sp>
        <p:nvSpPr>
          <p:cNvPr id="25" name="Content Placeholder 8"/>
          <p:cNvSpPr>
            <a:spLocks noGrp="1"/>
          </p:cNvSpPr>
          <p:nvPr>
            <p:ph sz="quarter" idx="34" hasCustomPrompt="1"/>
          </p:nvPr>
        </p:nvSpPr>
        <p:spPr>
          <a:xfrm>
            <a:off x="793961" y="3739134"/>
            <a:ext cx="1380744" cy="813816"/>
          </a:xfrm>
          <a:solidFill>
            <a:schemeClr val="accent1"/>
          </a:solidFill>
        </p:spPr>
        <p:txBody>
          <a:bodyPr lIns="91440" tIns="91440" rIns="91440" bIns="9144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16459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2pPr>
            <a:lvl3pPr marL="34747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3pPr>
            <a:lvl4pPr marL="53035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4pPr>
            <a:lvl5pPr marL="71323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nsert Image or Text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2441448" y="1234087"/>
            <a:ext cx="5255259" cy="521208"/>
          </a:xfrm>
          <a:solidFill>
            <a:schemeClr val="accent2">
              <a:lumMod val="20000"/>
              <a:lumOff val="80000"/>
            </a:schemeClr>
          </a:solidFill>
        </p:spPr>
        <p:txBody>
          <a:bodyPr lIns="45720"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441448" y="942975"/>
            <a:ext cx="5255259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2443989" y="2166639"/>
            <a:ext cx="5255259" cy="521208"/>
          </a:xfrm>
          <a:solidFill>
            <a:schemeClr val="accent2">
              <a:lumMod val="20000"/>
              <a:lumOff val="80000"/>
            </a:schemeClr>
          </a:solidFill>
        </p:spPr>
        <p:txBody>
          <a:bodyPr lIns="45720"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2443989" y="1874031"/>
            <a:ext cx="5255259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/>
          </p:nvPr>
        </p:nvSpPr>
        <p:spPr>
          <a:xfrm>
            <a:off x="2441448" y="3099191"/>
            <a:ext cx="5255259" cy="521208"/>
          </a:xfrm>
          <a:solidFill>
            <a:schemeClr val="accent2">
              <a:lumMod val="20000"/>
              <a:lumOff val="80000"/>
            </a:schemeClr>
          </a:solidFill>
        </p:spPr>
        <p:txBody>
          <a:bodyPr lIns="45720"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2441448" y="2806583"/>
            <a:ext cx="5255259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1"/>
          </p:nvPr>
        </p:nvSpPr>
        <p:spPr>
          <a:xfrm>
            <a:off x="2439132" y="4031742"/>
            <a:ext cx="5255259" cy="521208"/>
          </a:xfrm>
          <a:solidFill>
            <a:schemeClr val="accent2">
              <a:lumMod val="20000"/>
              <a:lumOff val="80000"/>
            </a:schemeClr>
          </a:solidFill>
        </p:spPr>
        <p:txBody>
          <a:bodyPr lIns="45720"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2439132" y="3739134"/>
            <a:ext cx="5255259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 Slide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571500" y="504062"/>
            <a:ext cx="5888736" cy="4048887"/>
          </a:xfrm>
        </p:spPr>
        <p:txBody>
          <a:bodyPr anchor="ctr">
            <a:normAutofit/>
          </a:bodyPr>
          <a:lstStyle>
            <a:lvl1pPr marL="0" indent="0"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 sz="2100"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 sz="2100"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 sz="2100"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 sz="21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BREAKER 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6739128" y="0"/>
            <a:ext cx="2404872" cy="51435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0629" y="126507"/>
            <a:ext cx="901263" cy="377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6199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4 Descriptions, Content,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31" hasCustomPrompt="1"/>
          </p:nvPr>
        </p:nvSpPr>
        <p:spPr>
          <a:xfrm>
            <a:off x="797892" y="942975"/>
            <a:ext cx="1380744" cy="813816"/>
          </a:xfrm>
          <a:solidFill>
            <a:schemeClr val="accent2"/>
          </a:solidFill>
        </p:spPr>
        <p:txBody>
          <a:bodyPr lIns="91440" tIns="91440" rIns="91440" bIns="9144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16459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2pPr>
            <a:lvl3pPr marL="34747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3pPr>
            <a:lvl4pPr marL="53035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4pPr>
            <a:lvl5pPr marL="71323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nsert Image or Text Here</a:t>
            </a:r>
          </a:p>
        </p:txBody>
      </p:sp>
      <p:sp>
        <p:nvSpPr>
          <p:cNvPr id="22" name="Content Placeholder 8"/>
          <p:cNvSpPr>
            <a:spLocks noGrp="1"/>
          </p:cNvSpPr>
          <p:nvPr>
            <p:ph sz="quarter" idx="32" hasCustomPrompt="1"/>
          </p:nvPr>
        </p:nvSpPr>
        <p:spPr>
          <a:xfrm>
            <a:off x="797892" y="1874104"/>
            <a:ext cx="1380744" cy="813816"/>
          </a:xfrm>
          <a:solidFill>
            <a:schemeClr val="accent2"/>
          </a:solidFill>
        </p:spPr>
        <p:txBody>
          <a:bodyPr lIns="91440" tIns="91440" rIns="91440" bIns="9144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16459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2pPr>
            <a:lvl3pPr marL="34747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3pPr>
            <a:lvl4pPr marL="53035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4pPr>
            <a:lvl5pPr marL="71323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nsert Image or Text Here</a:t>
            </a:r>
          </a:p>
        </p:txBody>
      </p:sp>
      <p:sp>
        <p:nvSpPr>
          <p:cNvPr id="24" name="Content Placeholder 8"/>
          <p:cNvSpPr>
            <a:spLocks noGrp="1"/>
          </p:cNvSpPr>
          <p:nvPr>
            <p:ph sz="quarter" idx="33" hasCustomPrompt="1"/>
          </p:nvPr>
        </p:nvSpPr>
        <p:spPr>
          <a:xfrm>
            <a:off x="797892" y="2805233"/>
            <a:ext cx="1380744" cy="813816"/>
          </a:xfrm>
          <a:solidFill>
            <a:schemeClr val="accent2"/>
          </a:solidFill>
        </p:spPr>
        <p:txBody>
          <a:bodyPr lIns="91440" tIns="91440" rIns="91440" bIns="9144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16459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2pPr>
            <a:lvl3pPr marL="34747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3pPr>
            <a:lvl4pPr marL="53035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4pPr>
            <a:lvl5pPr marL="71323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nsert Image or Text Here</a:t>
            </a:r>
          </a:p>
        </p:txBody>
      </p:sp>
      <p:sp>
        <p:nvSpPr>
          <p:cNvPr id="25" name="Content Placeholder 8"/>
          <p:cNvSpPr>
            <a:spLocks noGrp="1"/>
          </p:cNvSpPr>
          <p:nvPr>
            <p:ph sz="quarter" idx="34" hasCustomPrompt="1"/>
          </p:nvPr>
        </p:nvSpPr>
        <p:spPr>
          <a:xfrm>
            <a:off x="797892" y="3736363"/>
            <a:ext cx="1380744" cy="813816"/>
          </a:xfrm>
          <a:solidFill>
            <a:schemeClr val="accent2"/>
          </a:solidFill>
        </p:spPr>
        <p:txBody>
          <a:bodyPr lIns="91440" tIns="91440" rIns="91440" bIns="9144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16459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2pPr>
            <a:lvl3pPr marL="34747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3pPr>
            <a:lvl4pPr marL="53035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4pPr>
            <a:lvl5pPr marL="71323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nsert Image or Text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2441448" y="1235583"/>
            <a:ext cx="3391406" cy="521208"/>
          </a:xfrm>
          <a:solidFill>
            <a:schemeClr val="accent2">
              <a:lumMod val="20000"/>
              <a:lumOff val="80000"/>
            </a:schemeClr>
          </a:solidFill>
        </p:spPr>
        <p:txBody>
          <a:bodyPr lIns="45720"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441448" y="942975"/>
            <a:ext cx="3391406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2441448" y="2166712"/>
            <a:ext cx="3391406" cy="521208"/>
          </a:xfrm>
          <a:solidFill>
            <a:schemeClr val="accent2">
              <a:lumMod val="20000"/>
              <a:lumOff val="80000"/>
            </a:schemeClr>
          </a:solidFill>
        </p:spPr>
        <p:txBody>
          <a:bodyPr lIns="45720"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2441448" y="1874104"/>
            <a:ext cx="3391406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/>
          </p:nvPr>
        </p:nvSpPr>
        <p:spPr>
          <a:xfrm>
            <a:off x="2441448" y="3097841"/>
            <a:ext cx="3391406" cy="521208"/>
          </a:xfrm>
          <a:solidFill>
            <a:schemeClr val="accent2">
              <a:lumMod val="20000"/>
              <a:lumOff val="80000"/>
            </a:schemeClr>
          </a:solidFill>
        </p:spPr>
        <p:txBody>
          <a:bodyPr lIns="45720"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2441448" y="2805233"/>
            <a:ext cx="3389090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1"/>
          </p:nvPr>
        </p:nvSpPr>
        <p:spPr>
          <a:xfrm>
            <a:off x="2441448" y="4028971"/>
            <a:ext cx="3391406" cy="521208"/>
          </a:xfrm>
          <a:solidFill>
            <a:schemeClr val="accent2">
              <a:lumMod val="20000"/>
              <a:lumOff val="80000"/>
            </a:schemeClr>
          </a:solidFill>
        </p:spPr>
        <p:txBody>
          <a:bodyPr lIns="45720"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2441448" y="3736363"/>
            <a:ext cx="3391406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6"/>
          <p:cNvSpPr>
            <a:spLocks noGrp="1"/>
          </p:cNvSpPr>
          <p:nvPr>
            <p:ph sz="quarter" idx="35" hasCustomPrompt="1"/>
          </p:nvPr>
        </p:nvSpPr>
        <p:spPr>
          <a:xfrm>
            <a:off x="6096000" y="942976"/>
            <a:ext cx="2476500" cy="1862258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Kicker</a:t>
            </a:r>
          </a:p>
        </p:txBody>
      </p:sp>
      <p:sp>
        <p:nvSpPr>
          <p:cNvPr id="26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3 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460784" y="942975"/>
            <a:ext cx="6423374" cy="548640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463325" y="2228850"/>
            <a:ext cx="6423374" cy="518989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1460784" y="3523869"/>
            <a:ext cx="6423374" cy="480194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Oval 18"/>
          <p:cNvSpPr>
            <a:spLocks noChangeAspect="1"/>
          </p:cNvSpPr>
          <p:nvPr userDrawn="1"/>
        </p:nvSpPr>
        <p:spPr>
          <a:xfrm>
            <a:off x="589340" y="942975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1</a:t>
            </a:r>
          </a:p>
        </p:txBody>
      </p:sp>
      <p:sp>
        <p:nvSpPr>
          <p:cNvPr id="20" name="Oval 19"/>
          <p:cNvSpPr>
            <a:spLocks noChangeAspect="1"/>
          </p:cNvSpPr>
          <p:nvPr userDrawn="1"/>
        </p:nvSpPr>
        <p:spPr>
          <a:xfrm>
            <a:off x="589340" y="2199199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2</a:t>
            </a:r>
          </a:p>
        </p:txBody>
      </p:sp>
      <p:sp>
        <p:nvSpPr>
          <p:cNvPr id="21" name="Oval 20"/>
          <p:cNvSpPr>
            <a:spLocks noChangeAspect="1"/>
          </p:cNvSpPr>
          <p:nvPr userDrawn="1"/>
        </p:nvSpPr>
        <p:spPr>
          <a:xfrm>
            <a:off x="589340" y="3455422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3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3 Numbered Descriptio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1460784" y="1228725"/>
            <a:ext cx="6423374" cy="809244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460784" y="942975"/>
            <a:ext cx="6423374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1463325" y="2496312"/>
            <a:ext cx="6423374" cy="809244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463325" y="2199199"/>
            <a:ext cx="6423374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/>
          </p:nvPr>
        </p:nvSpPr>
        <p:spPr>
          <a:xfrm>
            <a:off x="1460784" y="3743706"/>
            <a:ext cx="6423374" cy="809244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1460784" y="3455422"/>
            <a:ext cx="6423374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Oval 19"/>
          <p:cNvSpPr>
            <a:spLocks noChangeAspect="1"/>
          </p:cNvSpPr>
          <p:nvPr userDrawn="1"/>
        </p:nvSpPr>
        <p:spPr>
          <a:xfrm>
            <a:off x="589340" y="942975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1</a:t>
            </a:r>
          </a:p>
        </p:txBody>
      </p:sp>
      <p:sp>
        <p:nvSpPr>
          <p:cNvPr id="21" name="Oval 20"/>
          <p:cNvSpPr>
            <a:spLocks noChangeAspect="1"/>
          </p:cNvSpPr>
          <p:nvPr userDrawn="1"/>
        </p:nvSpPr>
        <p:spPr>
          <a:xfrm>
            <a:off x="589340" y="2199199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2</a:t>
            </a:r>
          </a:p>
        </p:txBody>
      </p:sp>
      <p:sp>
        <p:nvSpPr>
          <p:cNvPr id="22" name="Oval 21"/>
          <p:cNvSpPr>
            <a:spLocks noChangeAspect="1"/>
          </p:cNvSpPr>
          <p:nvPr userDrawn="1"/>
        </p:nvSpPr>
        <p:spPr>
          <a:xfrm>
            <a:off x="589340" y="3455422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3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3 Numbered Descriptions, Kick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1460785" y="1228725"/>
            <a:ext cx="4365975" cy="809244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460785" y="942975"/>
            <a:ext cx="4365975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1463326" y="2496312"/>
            <a:ext cx="4365975" cy="809244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463326" y="2199199"/>
            <a:ext cx="4365975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/>
          </p:nvPr>
        </p:nvSpPr>
        <p:spPr>
          <a:xfrm>
            <a:off x="1460785" y="3741172"/>
            <a:ext cx="4365975" cy="809244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1460785" y="3455422"/>
            <a:ext cx="4365975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6"/>
          <p:cNvSpPr>
            <a:spLocks noGrp="1"/>
          </p:cNvSpPr>
          <p:nvPr>
            <p:ph sz="quarter" idx="31" hasCustomPrompt="1"/>
          </p:nvPr>
        </p:nvSpPr>
        <p:spPr>
          <a:xfrm>
            <a:off x="6096001" y="942975"/>
            <a:ext cx="2476499" cy="1890951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Kicker</a:t>
            </a:r>
          </a:p>
        </p:txBody>
      </p:sp>
      <p:sp>
        <p:nvSpPr>
          <p:cNvPr id="20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Oval 20"/>
          <p:cNvSpPr>
            <a:spLocks noChangeAspect="1"/>
          </p:cNvSpPr>
          <p:nvPr userDrawn="1"/>
        </p:nvSpPr>
        <p:spPr>
          <a:xfrm>
            <a:off x="589340" y="942975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1</a:t>
            </a:r>
          </a:p>
        </p:txBody>
      </p:sp>
      <p:sp>
        <p:nvSpPr>
          <p:cNvPr id="22" name="Oval 21"/>
          <p:cNvSpPr>
            <a:spLocks noChangeAspect="1"/>
          </p:cNvSpPr>
          <p:nvPr userDrawn="1"/>
        </p:nvSpPr>
        <p:spPr>
          <a:xfrm>
            <a:off x="589340" y="2199199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2</a:t>
            </a:r>
          </a:p>
        </p:txBody>
      </p:sp>
      <p:sp>
        <p:nvSpPr>
          <p:cNvPr id="23" name="Oval 22"/>
          <p:cNvSpPr>
            <a:spLocks noChangeAspect="1"/>
          </p:cNvSpPr>
          <p:nvPr userDrawn="1"/>
        </p:nvSpPr>
        <p:spPr>
          <a:xfrm>
            <a:off x="589340" y="3455422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3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4 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460784" y="942975"/>
            <a:ext cx="6423374" cy="677862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463325" y="1874901"/>
            <a:ext cx="6423374" cy="646745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1460784" y="2822067"/>
            <a:ext cx="6423374" cy="614741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1460784" y="3766947"/>
            <a:ext cx="6423374" cy="677862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9" name="Oval 38"/>
          <p:cNvSpPr>
            <a:spLocks noChangeAspect="1"/>
          </p:cNvSpPr>
          <p:nvPr userDrawn="1"/>
        </p:nvSpPr>
        <p:spPr>
          <a:xfrm>
            <a:off x="589340" y="942975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1</a:t>
            </a:r>
          </a:p>
        </p:txBody>
      </p:sp>
      <p:sp>
        <p:nvSpPr>
          <p:cNvPr id="40" name="Oval 39"/>
          <p:cNvSpPr>
            <a:spLocks noChangeAspect="1"/>
          </p:cNvSpPr>
          <p:nvPr userDrawn="1"/>
        </p:nvSpPr>
        <p:spPr>
          <a:xfrm>
            <a:off x="589340" y="1874901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2</a:t>
            </a:r>
          </a:p>
        </p:txBody>
      </p:sp>
      <p:sp>
        <p:nvSpPr>
          <p:cNvPr id="41" name="Oval 40"/>
          <p:cNvSpPr>
            <a:spLocks noChangeAspect="1"/>
          </p:cNvSpPr>
          <p:nvPr userDrawn="1"/>
        </p:nvSpPr>
        <p:spPr>
          <a:xfrm>
            <a:off x="589340" y="2822067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3</a:t>
            </a:r>
          </a:p>
        </p:txBody>
      </p:sp>
      <p:sp>
        <p:nvSpPr>
          <p:cNvPr id="42" name="Oval 41"/>
          <p:cNvSpPr>
            <a:spLocks noChangeAspect="1"/>
          </p:cNvSpPr>
          <p:nvPr userDrawn="1"/>
        </p:nvSpPr>
        <p:spPr>
          <a:xfrm>
            <a:off x="589340" y="3766947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4</a:t>
            </a:r>
          </a:p>
        </p:txBody>
      </p:sp>
      <p:sp>
        <p:nvSpPr>
          <p:cNvPr id="4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4 Numbered Descriptio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1460784" y="1228725"/>
            <a:ext cx="6423374" cy="502920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460784" y="942975"/>
            <a:ext cx="6423374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1463325" y="2160651"/>
            <a:ext cx="6423374" cy="502920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463325" y="1874901"/>
            <a:ext cx="6423374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/>
          </p:nvPr>
        </p:nvSpPr>
        <p:spPr>
          <a:xfrm>
            <a:off x="1460784" y="3107817"/>
            <a:ext cx="6423374" cy="502920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1460784" y="2822067"/>
            <a:ext cx="6423374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1"/>
          </p:nvPr>
        </p:nvSpPr>
        <p:spPr>
          <a:xfrm>
            <a:off x="1458468" y="4052697"/>
            <a:ext cx="6423374" cy="500253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1458468" y="3766947"/>
            <a:ext cx="6423374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6" name="Oval 25"/>
          <p:cNvSpPr>
            <a:spLocks noChangeAspect="1"/>
          </p:cNvSpPr>
          <p:nvPr userDrawn="1"/>
        </p:nvSpPr>
        <p:spPr>
          <a:xfrm>
            <a:off x="589340" y="942975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1</a:t>
            </a:r>
          </a:p>
        </p:txBody>
      </p:sp>
      <p:sp>
        <p:nvSpPr>
          <p:cNvPr id="27" name="Oval 26"/>
          <p:cNvSpPr>
            <a:spLocks noChangeAspect="1"/>
          </p:cNvSpPr>
          <p:nvPr userDrawn="1"/>
        </p:nvSpPr>
        <p:spPr>
          <a:xfrm>
            <a:off x="589340" y="1874901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2</a:t>
            </a:r>
          </a:p>
        </p:txBody>
      </p:sp>
      <p:sp>
        <p:nvSpPr>
          <p:cNvPr id="28" name="Oval 27"/>
          <p:cNvSpPr>
            <a:spLocks noChangeAspect="1"/>
          </p:cNvSpPr>
          <p:nvPr userDrawn="1"/>
        </p:nvSpPr>
        <p:spPr>
          <a:xfrm>
            <a:off x="589340" y="2822067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3</a:t>
            </a:r>
          </a:p>
        </p:txBody>
      </p:sp>
      <p:sp>
        <p:nvSpPr>
          <p:cNvPr id="29" name="Oval 28"/>
          <p:cNvSpPr>
            <a:spLocks noChangeAspect="1"/>
          </p:cNvSpPr>
          <p:nvPr userDrawn="1"/>
        </p:nvSpPr>
        <p:spPr>
          <a:xfrm>
            <a:off x="589340" y="3766947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4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4 Numbered Descriptions, Kick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1460784" y="1228725"/>
            <a:ext cx="4365975" cy="502920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460784" y="942975"/>
            <a:ext cx="4365975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1463325" y="2160651"/>
            <a:ext cx="4365975" cy="502920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463325" y="1874901"/>
            <a:ext cx="4365975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/>
          </p:nvPr>
        </p:nvSpPr>
        <p:spPr>
          <a:xfrm>
            <a:off x="1460784" y="3107817"/>
            <a:ext cx="4365975" cy="502920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1460784" y="2822067"/>
            <a:ext cx="4365975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1"/>
          </p:nvPr>
        </p:nvSpPr>
        <p:spPr>
          <a:xfrm>
            <a:off x="1458468" y="4052697"/>
            <a:ext cx="4365975" cy="502920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1458468" y="3766947"/>
            <a:ext cx="4365975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 hasCustomPrompt="1"/>
          </p:nvPr>
        </p:nvSpPr>
        <p:spPr>
          <a:xfrm>
            <a:off x="6096001" y="947976"/>
            <a:ext cx="2476499" cy="188595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Kicker</a:t>
            </a:r>
          </a:p>
        </p:txBody>
      </p:sp>
      <p:sp>
        <p:nvSpPr>
          <p:cNvPr id="27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8" name="Oval 27"/>
          <p:cNvSpPr>
            <a:spLocks noChangeAspect="1"/>
          </p:cNvSpPr>
          <p:nvPr userDrawn="1"/>
        </p:nvSpPr>
        <p:spPr>
          <a:xfrm>
            <a:off x="589340" y="942975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1</a:t>
            </a:r>
          </a:p>
        </p:txBody>
      </p:sp>
      <p:sp>
        <p:nvSpPr>
          <p:cNvPr id="29" name="Oval 28"/>
          <p:cNvSpPr>
            <a:spLocks noChangeAspect="1"/>
          </p:cNvSpPr>
          <p:nvPr userDrawn="1"/>
        </p:nvSpPr>
        <p:spPr>
          <a:xfrm>
            <a:off x="589340" y="1874901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2</a:t>
            </a:r>
          </a:p>
        </p:txBody>
      </p:sp>
      <p:sp>
        <p:nvSpPr>
          <p:cNvPr id="30" name="Oval 29"/>
          <p:cNvSpPr>
            <a:spLocks noChangeAspect="1"/>
          </p:cNvSpPr>
          <p:nvPr userDrawn="1"/>
        </p:nvSpPr>
        <p:spPr>
          <a:xfrm>
            <a:off x="589340" y="2822067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3</a:t>
            </a:r>
          </a:p>
        </p:txBody>
      </p:sp>
      <p:sp>
        <p:nvSpPr>
          <p:cNvPr id="31" name="Oval 30"/>
          <p:cNvSpPr>
            <a:spLocks noChangeAspect="1"/>
          </p:cNvSpPr>
          <p:nvPr userDrawn="1"/>
        </p:nvSpPr>
        <p:spPr>
          <a:xfrm>
            <a:off x="589340" y="3766947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4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5 or 6 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460784" y="942975"/>
            <a:ext cx="2999232" cy="507492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460784" y="2228850"/>
            <a:ext cx="2999232" cy="507492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1460784" y="3523869"/>
            <a:ext cx="2999232" cy="507492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578125" y="942975"/>
            <a:ext cx="2999232" cy="507492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5578125" y="2228850"/>
            <a:ext cx="2999232" cy="507492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6"/>
          </p:nvPr>
        </p:nvSpPr>
        <p:spPr>
          <a:xfrm>
            <a:off x="5578125" y="3523869"/>
            <a:ext cx="2999232" cy="507492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4" name="Oval 23"/>
          <p:cNvSpPr>
            <a:spLocks noChangeAspect="1"/>
          </p:cNvSpPr>
          <p:nvPr userDrawn="1"/>
        </p:nvSpPr>
        <p:spPr>
          <a:xfrm>
            <a:off x="589340" y="942975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1</a:t>
            </a:r>
          </a:p>
        </p:txBody>
      </p:sp>
      <p:sp>
        <p:nvSpPr>
          <p:cNvPr id="25" name="Oval 24"/>
          <p:cNvSpPr>
            <a:spLocks noChangeAspect="1"/>
          </p:cNvSpPr>
          <p:nvPr userDrawn="1"/>
        </p:nvSpPr>
        <p:spPr>
          <a:xfrm>
            <a:off x="589340" y="2199199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2</a:t>
            </a:r>
          </a:p>
        </p:txBody>
      </p:sp>
      <p:sp>
        <p:nvSpPr>
          <p:cNvPr id="26" name="Oval 25"/>
          <p:cNvSpPr>
            <a:spLocks noChangeAspect="1"/>
          </p:cNvSpPr>
          <p:nvPr userDrawn="1"/>
        </p:nvSpPr>
        <p:spPr>
          <a:xfrm>
            <a:off x="589340" y="3455422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3</a:t>
            </a:r>
          </a:p>
        </p:txBody>
      </p:sp>
      <p:sp>
        <p:nvSpPr>
          <p:cNvPr id="27" name="Oval 26"/>
          <p:cNvSpPr>
            <a:spLocks noChangeAspect="1"/>
          </p:cNvSpPr>
          <p:nvPr userDrawn="1"/>
        </p:nvSpPr>
        <p:spPr>
          <a:xfrm>
            <a:off x="4686300" y="942975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4</a:t>
            </a:r>
          </a:p>
        </p:txBody>
      </p:sp>
      <p:sp>
        <p:nvSpPr>
          <p:cNvPr id="28" name="Oval 27"/>
          <p:cNvSpPr>
            <a:spLocks noChangeAspect="1"/>
          </p:cNvSpPr>
          <p:nvPr userDrawn="1"/>
        </p:nvSpPr>
        <p:spPr>
          <a:xfrm>
            <a:off x="4686300" y="2199199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5</a:t>
            </a:r>
          </a:p>
        </p:txBody>
      </p:sp>
      <p:sp>
        <p:nvSpPr>
          <p:cNvPr id="29" name="Oval 28"/>
          <p:cNvSpPr>
            <a:spLocks noChangeAspect="1"/>
          </p:cNvSpPr>
          <p:nvPr userDrawn="1"/>
        </p:nvSpPr>
        <p:spPr>
          <a:xfrm>
            <a:off x="4686300" y="3455422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6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S_5 or 6 Numbered Descriptio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1460784" y="1228725"/>
            <a:ext cx="2999232" cy="813816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4592" indent="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2pPr>
            <a:lvl3pPr marL="34747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3pPr>
            <a:lvl4pPr marL="53035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460784" y="942975"/>
            <a:ext cx="2999232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1460784" y="2496312"/>
            <a:ext cx="2999232" cy="813816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4592" indent="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2pPr>
            <a:lvl3pPr marL="34747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3pPr>
            <a:lvl4pPr marL="53035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460784" y="2199199"/>
            <a:ext cx="2999232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/>
          </p:nvPr>
        </p:nvSpPr>
        <p:spPr>
          <a:xfrm>
            <a:off x="1460784" y="3744124"/>
            <a:ext cx="2999232" cy="813816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4592" indent="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2pPr>
            <a:lvl3pPr marL="34747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3pPr>
            <a:lvl4pPr marL="53035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1460784" y="3455422"/>
            <a:ext cx="2999232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1"/>
          </p:nvPr>
        </p:nvSpPr>
        <p:spPr>
          <a:xfrm>
            <a:off x="5578125" y="1228725"/>
            <a:ext cx="2999232" cy="813816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4592" indent="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2pPr>
            <a:lvl3pPr marL="34747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3pPr>
            <a:lvl4pPr marL="53035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578125" y="942975"/>
            <a:ext cx="2999232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9"/>
          <p:cNvSpPr>
            <a:spLocks noGrp="1"/>
          </p:cNvSpPr>
          <p:nvPr>
            <p:ph sz="quarter" idx="23"/>
          </p:nvPr>
        </p:nvSpPr>
        <p:spPr>
          <a:xfrm>
            <a:off x="5578125" y="2496312"/>
            <a:ext cx="2999232" cy="813816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4592" indent="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2pPr>
            <a:lvl3pPr marL="34747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3pPr>
            <a:lvl4pPr marL="53035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5578125" y="2199199"/>
            <a:ext cx="2999232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9"/>
          <p:cNvSpPr>
            <a:spLocks noGrp="1"/>
          </p:cNvSpPr>
          <p:nvPr>
            <p:ph sz="quarter" idx="25"/>
          </p:nvPr>
        </p:nvSpPr>
        <p:spPr>
          <a:xfrm>
            <a:off x="5578125" y="3744124"/>
            <a:ext cx="2999232" cy="813816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4592" indent="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2pPr>
            <a:lvl3pPr marL="34747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3pPr>
            <a:lvl4pPr marL="53035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6"/>
          </p:nvPr>
        </p:nvSpPr>
        <p:spPr>
          <a:xfrm>
            <a:off x="5578125" y="3455422"/>
            <a:ext cx="2999232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8" name="Oval 27"/>
          <p:cNvSpPr>
            <a:spLocks noChangeAspect="1"/>
          </p:cNvSpPr>
          <p:nvPr userDrawn="1"/>
        </p:nvSpPr>
        <p:spPr>
          <a:xfrm>
            <a:off x="589340" y="942975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1</a:t>
            </a:r>
          </a:p>
        </p:txBody>
      </p:sp>
      <p:sp>
        <p:nvSpPr>
          <p:cNvPr id="29" name="Oval 28"/>
          <p:cNvSpPr>
            <a:spLocks noChangeAspect="1"/>
          </p:cNvSpPr>
          <p:nvPr userDrawn="1"/>
        </p:nvSpPr>
        <p:spPr>
          <a:xfrm>
            <a:off x="589340" y="2199199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2</a:t>
            </a:r>
          </a:p>
        </p:txBody>
      </p:sp>
      <p:sp>
        <p:nvSpPr>
          <p:cNvPr id="30" name="Oval 29"/>
          <p:cNvSpPr>
            <a:spLocks noChangeAspect="1"/>
          </p:cNvSpPr>
          <p:nvPr userDrawn="1"/>
        </p:nvSpPr>
        <p:spPr>
          <a:xfrm>
            <a:off x="589340" y="3455422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3</a:t>
            </a:r>
          </a:p>
        </p:txBody>
      </p:sp>
      <p:sp>
        <p:nvSpPr>
          <p:cNvPr id="36" name="Oval 35"/>
          <p:cNvSpPr>
            <a:spLocks noChangeAspect="1"/>
          </p:cNvSpPr>
          <p:nvPr userDrawn="1"/>
        </p:nvSpPr>
        <p:spPr>
          <a:xfrm>
            <a:off x="4686300" y="942975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4</a:t>
            </a:r>
          </a:p>
        </p:txBody>
      </p:sp>
      <p:sp>
        <p:nvSpPr>
          <p:cNvPr id="37" name="Oval 36"/>
          <p:cNvSpPr>
            <a:spLocks noChangeAspect="1"/>
          </p:cNvSpPr>
          <p:nvPr userDrawn="1"/>
        </p:nvSpPr>
        <p:spPr>
          <a:xfrm>
            <a:off x="4686300" y="2199199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5</a:t>
            </a:r>
          </a:p>
        </p:txBody>
      </p:sp>
      <p:sp>
        <p:nvSpPr>
          <p:cNvPr id="38" name="Oval 37"/>
          <p:cNvSpPr>
            <a:spLocks noChangeAspect="1"/>
          </p:cNvSpPr>
          <p:nvPr userDrawn="1"/>
        </p:nvSpPr>
        <p:spPr>
          <a:xfrm>
            <a:off x="4686300" y="3455422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6</a:t>
            </a:r>
          </a:p>
        </p:txBody>
      </p:sp>
      <p:sp>
        <p:nvSpPr>
          <p:cNvPr id="3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2 Column, Arrows -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1120140" y="3109341"/>
            <a:ext cx="3337560" cy="1434084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120140" y="2823591"/>
            <a:ext cx="3337560" cy="28575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5234939" y="3109341"/>
            <a:ext cx="3337560" cy="1434084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5234939" y="2823591"/>
            <a:ext cx="3337560" cy="28575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 hasCustomPrompt="1"/>
          </p:nvPr>
        </p:nvSpPr>
        <p:spPr>
          <a:xfrm>
            <a:off x="1120776" y="941783"/>
            <a:ext cx="3336925" cy="1719263"/>
          </a:xfrm>
        </p:spPr>
        <p:txBody>
          <a:bodyPr/>
          <a:lstStyle>
            <a:lvl1pPr marL="0" indent="0">
              <a:buNone/>
              <a:defRPr/>
            </a:lvl1pPr>
            <a:lvl2pPr marL="164592" indent="0">
              <a:buNone/>
              <a:defRPr/>
            </a:lvl2pPr>
            <a:lvl3pPr marL="347472" indent="0">
              <a:buNone/>
              <a:defRPr/>
            </a:lvl3pPr>
            <a:lvl4pPr marL="530352" indent="0">
              <a:buNone/>
              <a:defRPr/>
            </a:lvl4pPr>
            <a:lvl5pPr marL="713232" indent="0">
              <a:buNone/>
              <a:defRPr/>
            </a:lvl5pPr>
          </a:lstStyle>
          <a:p>
            <a:pPr lvl="0"/>
            <a:r>
              <a:rPr lang="en-US"/>
              <a:t>Click to add image</a:t>
            </a:r>
          </a:p>
        </p:txBody>
      </p:sp>
      <p:sp>
        <p:nvSpPr>
          <p:cNvPr id="17" name="Content Placeholder 8"/>
          <p:cNvSpPr>
            <a:spLocks noGrp="1"/>
          </p:cNvSpPr>
          <p:nvPr>
            <p:ph sz="quarter" idx="20" hasCustomPrompt="1"/>
          </p:nvPr>
        </p:nvSpPr>
        <p:spPr>
          <a:xfrm>
            <a:off x="5234940" y="941783"/>
            <a:ext cx="3336925" cy="1719263"/>
          </a:xfrm>
        </p:spPr>
        <p:txBody>
          <a:bodyPr/>
          <a:lstStyle>
            <a:lvl1pPr marL="0" indent="0">
              <a:buNone/>
              <a:defRPr/>
            </a:lvl1pPr>
            <a:lvl2pPr marL="164592" indent="0">
              <a:buNone/>
              <a:defRPr/>
            </a:lvl2pPr>
            <a:lvl3pPr marL="347472" indent="0">
              <a:buNone/>
              <a:defRPr/>
            </a:lvl3pPr>
            <a:lvl4pPr marL="530352" indent="0">
              <a:buNone/>
              <a:defRPr/>
            </a:lvl4pPr>
            <a:lvl5pPr marL="713232" indent="0">
              <a:buNone/>
              <a:defRPr/>
            </a:lvl5pPr>
          </a:lstStyle>
          <a:p>
            <a:pPr lvl="0"/>
            <a:r>
              <a:rPr lang="en-US"/>
              <a:t>Click to add image</a:t>
            </a:r>
          </a:p>
        </p:txBody>
      </p:sp>
      <p:sp>
        <p:nvSpPr>
          <p:cNvPr id="20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Up Arrow 20"/>
          <p:cNvSpPr/>
          <p:nvPr userDrawn="1"/>
        </p:nvSpPr>
        <p:spPr>
          <a:xfrm>
            <a:off x="414020" y="942977"/>
            <a:ext cx="628650" cy="3609974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p Arrow 21"/>
          <p:cNvSpPr/>
          <p:nvPr userDrawn="1"/>
        </p:nvSpPr>
        <p:spPr>
          <a:xfrm rot="10800000">
            <a:off x="4528820" y="942974"/>
            <a:ext cx="628650" cy="3609975"/>
          </a:xfrm>
          <a:prstGeom prst="up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 Slide - Image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571498" y="3281553"/>
            <a:ext cx="8001002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300" kern="1200" dirty="0" smtClean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23"/>
          </p:nvPr>
        </p:nvSpPr>
        <p:spPr>
          <a:xfrm>
            <a:off x="0" y="942975"/>
            <a:ext cx="9144000" cy="2167128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336" y="228145"/>
            <a:ext cx="1706368" cy="714830"/>
          </a:xfrm>
          <a:prstGeom prst="rect">
            <a:avLst/>
          </a:prstGeom>
        </p:spPr>
      </p:pic>
      <p:sp>
        <p:nvSpPr>
          <p:cNvPr id="15" name="Parallelogram 14"/>
          <p:cNvSpPr/>
          <p:nvPr userDrawn="1"/>
        </p:nvSpPr>
        <p:spPr>
          <a:xfrm>
            <a:off x="0" y="3281553"/>
            <a:ext cx="519378" cy="251011"/>
          </a:xfrm>
          <a:prstGeom prst="parallelogram">
            <a:avLst>
              <a:gd name="adj" fmla="val 59371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4 Rows - Drivers/Barri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215383" y="942975"/>
            <a:ext cx="4357115" cy="740664"/>
          </a:xfrm>
        </p:spPr>
        <p:txBody>
          <a:bodyPr lIns="0">
            <a:noAutofit/>
          </a:bodyPr>
          <a:lstStyle>
            <a:lvl1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4592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34747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53035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Analysis Highligh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1500" y="944069"/>
            <a:ext cx="2476501" cy="740664"/>
          </a:xfrm>
        </p:spPr>
        <p:txBody>
          <a:bodyPr rIns="182880">
            <a:noAutofit/>
          </a:bodyPr>
          <a:lstStyle>
            <a:lvl1pPr marL="0" indent="0" algn="r"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Highlight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4215383" y="1904762"/>
            <a:ext cx="4357115" cy="740664"/>
          </a:xfrm>
        </p:spPr>
        <p:txBody>
          <a:bodyPr lIns="0">
            <a:noAutofit/>
          </a:bodyPr>
          <a:lstStyle>
            <a:lvl1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4592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34747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53035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Analysis Highligh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571500" y="1904762"/>
            <a:ext cx="2476501" cy="740664"/>
          </a:xfrm>
        </p:spPr>
        <p:txBody>
          <a:bodyPr rIns="182880">
            <a:noAutofit/>
          </a:bodyPr>
          <a:lstStyle>
            <a:lvl1pPr marL="0" indent="0" algn="r"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Highlight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4215383" y="2823701"/>
            <a:ext cx="4357115" cy="740664"/>
          </a:xfrm>
        </p:spPr>
        <p:txBody>
          <a:bodyPr lIns="0">
            <a:noAutofit/>
          </a:bodyPr>
          <a:lstStyle>
            <a:lvl1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4592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34747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53035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Analysis Highligh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71499" y="2823701"/>
            <a:ext cx="2476501" cy="740664"/>
          </a:xfrm>
        </p:spPr>
        <p:txBody>
          <a:bodyPr rIns="182880">
            <a:noAutofit/>
          </a:bodyPr>
          <a:lstStyle>
            <a:lvl1pPr marL="0" indent="0" algn="r">
              <a:buNone/>
              <a:defRPr sz="1600" b="1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Highlight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1" hasCustomPrompt="1"/>
          </p:nvPr>
        </p:nvSpPr>
        <p:spPr>
          <a:xfrm>
            <a:off x="4215383" y="3797808"/>
            <a:ext cx="4357115" cy="755142"/>
          </a:xfrm>
        </p:spPr>
        <p:txBody>
          <a:bodyPr lIns="0">
            <a:noAutofit/>
          </a:bodyPr>
          <a:lstStyle>
            <a:lvl1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4592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34747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53035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Analysis Highlight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71500" y="3797808"/>
            <a:ext cx="2476501" cy="755142"/>
          </a:xfrm>
        </p:spPr>
        <p:txBody>
          <a:bodyPr rIns="182880">
            <a:noAutofit/>
          </a:bodyPr>
          <a:lstStyle>
            <a:lvl1pPr marL="0" indent="0" algn="r">
              <a:buNone/>
              <a:defRPr sz="1600" b="1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Highlight</a:t>
            </a:r>
          </a:p>
        </p:txBody>
      </p:sp>
      <p:sp>
        <p:nvSpPr>
          <p:cNvPr id="21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2" name="AutoShape 6"/>
          <p:cNvSpPr>
            <a:spLocks noChangeAspect="1" noChangeArrowheads="1"/>
          </p:cNvSpPr>
          <p:nvPr userDrawn="1"/>
        </p:nvSpPr>
        <p:spPr bwMode="auto">
          <a:xfrm rot="16200000">
            <a:off x="2724057" y="1286729"/>
            <a:ext cx="1715265" cy="1027755"/>
          </a:xfrm>
          <a:custGeom>
            <a:avLst/>
            <a:gdLst>
              <a:gd name="T0" fmla="*/ 594122 w 21600"/>
              <a:gd name="T1" fmla="*/ 0 h 21600"/>
              <a:gd name="T2" fmla="*/ 0 w 21600"/>
              <a:gd name="T3" fmla="*/ 323850 h 21600"/>
              <a:gd name="T4" fmla="*/ 594122 w 21600"/>
              <a:gd name="T5" fmla="*/ 647700 h 21600"/>
              <a:gd name="T6" fmla="*/ 792163 w 21600"/>
              <a:gd name="T7" fmla="*/ 32385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chemeClr val="accent1"/>
          </a:solidFill>
          <a:ln w="28575" algn="ctr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endParaRPr lang="en-GB"/>
          </a:p>
        </p:txBody>
      </p:sp>
      <p:sp>
        <p:nvSpPr>
          <p:cNvPr id="23" name="AutoShape 6"/>
          <p:cNvSpPr>
            <a:spLocks noChangeAspect="1" noChangeArrowheads="1"/>
          </p:cNvSpPr>
          <p:nvPr userDrawn="1"/>
        </p:nvSpPr>
        <p:spPr bwMode="auto">
          <a:xfrm rot="5400000">
            <a:off x="2722581" y="3174448"/>
            <a:ext cx="1729249" cy="1027755"/>
          </a:xfrm>
          <a:custGeom>
            <a:avLst/>
            <a:gdLst>
              <a:gd name="T0" fmla="*/ 594122 w 21600"/>
              <a:gd name="T1" fmla="*/ 0 h 21600"/>
              <a:gd name="T2" fmla="*/ 0 w 21600"/>
              <a:gd name="T3" fmla="*/ 323850 h 21600"/>
              <a:gd name="T4" fmla="*/ 594122 w 21600"/>
              <a:gd name="T5" fmla="*/ 647700 h 21600"/>
              <a:gd name="T6" fmla="*/ 792163 w 21600"/>
              <a:gd name="T7" fmla="*/ 32385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chemeClr val="accent2"/>
          </a:solidFill>
          <a:ln w="28575" algn="ctr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endParaRPr lang="en-GB" dirty="0"/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23" hasCustomPrompt="1"/>
          </p:nvPr>
        </p:nvSpPr>
        <p:spPr>
          <a:xfrm rot="16200000">
            <a:off x="2692688" y="1624799"/>
            <a:ext cx="1778000" cy="142577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US" sz="850" b="0" kern="1200" cap="all" spc="15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DRIVERS/APPROACH</a:t>
            </a:r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24" hasCustomPrompt="1"/>
          </p:nvPr>
        </p:nvSpPr>
        <p:spPr>
          <a:xfrm rot="16200000">
            <a:off x="2698205" y="3720438"/>
            <a:ext cx="1778000" cy="142577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US" sz="850" b="0" kern="1200" cap="all" spc="15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BARRIERS/CHALLENGES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71500" y="1426394"/>
            <a:ext cx="3886200" cy="1232482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1137950"/>
            <a:ext cx="3886200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 sz="16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4686300" y="1426394"/>
            <a:ext cx="3886200" cy="1232482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686300" y="1137950"/>
            <a:ext cx="3886200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 sz="16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/>
          </p:nvPr>
        </p:nvSpPr>
        <p:spPr>
          <a:xfrm>
            <a:off x="571500" y="3320468"/>
            <a:ext cx="3886200" cy="1232482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571500" y="3034718"/>
            <a:ext cx="3886200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 sz="16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1"/>
          </p:nvPr>
        </p:nvSpPr>
        <p:spPr>
          <a:xfrm>
            <a:off x="4686300" y="3320468"/>
            <a:ext cx="3886200" cy="1232482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4686300" y="3034718"/>
            <a:ext cx="3886200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 sz="16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571500" y="947640"/>
            <a:ext cx="3858768" cy="16671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1300"/>
              </a:lnSpc>
            </a:pPr>
            <a:r>
              <a:rPr lang="en-US" sz="1300" b="1" cap="all" baseline="0" dirty="0">
                <a:solidFill>
                  <a:schemeClr val="accent1"/>
                </a:solidFill>
                <a:latin typeface="+mj-lt"/>
              </a:rPr>
              <a:t>Strength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500" y="2832068"/>
            <a:ext cx="3886199" cy="16671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1300"/>
              </a:lnSpc>
            </a:pPr>
            <a:r>
              <a:rPr lang="en-US" sz="1300" b="1" cap="all" baseline="0" dirty="0">
                <a:solidFill>
                  <a:schemeClr val="accent1"/>
                </a:solidFill>
                <a:latin typeface="+mj-lt"/>
              </a:rPr>
              <a:t>Opportunities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86300" y="947640"/>
            <a:ext cx="3858768" cy="16671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1300"/>
              </a:lnSpc>
            </a:pPr>
            <a:r>
              <a:rPr lang="en-US" sz="1300" b="1" cap="all" baseline="0" dirty="0">
                <a:solidFill>
                  <a:schemeClr val="accent2"/>
                </a:solidFill>
                <a:latin typeface="+mj-lt"/>
              </a:rPr>
              <a:t>Weakness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4686300" y="2832068"/>
            <a:ext cx="3858768" cy="16671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1300"/>
              </a:lnSpc>
            </a:pPr>
            <a:r>
              <a:rPr lang="en-US" sz="1300" b="1" cap="all" baseline="0" dirty="0">
                <a:solidFill>
                  <a:schemeClr val="accent2"/>
                </a:solidFill>
                <a:latin typeface="+mj-lt"/>
              </a:rPr>
              <a:t>Threats</a:t>
            </a:r>
          </a:p>
        </p:txBody>
      </p:sp>
      <p:sp>
        <p:nvSpPr>
          <p:cNvPr id="25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9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571499" y="4316684"/>
            <a:ext cx="2476501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3314702" y="4316684"/>
            <a:ext cx="2514599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6096002" y="4316684"/>
            <a:ext cx="2476497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20" hasCustomPrompt="1"/>
          </p:nvPr>
        </p:nvSpPr>
        <p:spPr>
          <a:xfrm>
            <a:off x="571498" y="3521156"/>
            <a:ext cx="2476502" cy="795528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1" hasCustomPrompt="1"/>
          </p:nvPr>
        </p:nvSpPr>
        <p:spPr>
          <a:xfrm>
            <a:off x="3314701" y="3521156"/>
            <a:ext cx="2514600" cy="795528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22" hasCustomPrompt="1"/>
          </p:nvPr>
        </p:nvSpPr>
        <p:spPr>
          <a:xfrm>
            <a:off x="6096001" y="3521156"/>
            <a:ext cx="2476498" cy="795528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3"/>
          </p:nvPr>
        </p:nvSpPr>
        <p:spPr>
          <a:xfrm>
            <a:off x="0" y="942975"/>
            <a:ext cx="9144000" cy="2441694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y Vertical - No Top Na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6537960" cy="51435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6809738" y="1109853"/>
            <a:ext cx="2221992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6807198" y="2704124"/>
            <a:ext cx="2221992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6807198" y="4298396"/>
            <a:ext cx="2221992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20" hasCustomPrompt="1"/>
          </p:nvPr>
        </p:nvSpPr>
        <p:spPr>
          <a:xfrm>
            <a:off x="6809738" y="314325"/>
            <a:ext cx="2221992" cy="795528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1" hasCustomPrompt="1"/>
          </p:nvPr>
        </p:nvSpPr>
        <p:spPr>
          <a:xfrm>
            <a:off x="6807198" y="1908596"/>
            <a:ext cx="2221992" cy="795528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22" hasCustomPrompt="1"/>
          </p:nvPr>
        </p:nvSpPr>
        <p:spPr>
          <a:xfrm>
            <a:off x="6807198" y="3502868"/>
            <a:ext cx="2221992" cy="795528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_EC horizontal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500" y="1680658"/>
            <a:ext cx="7059168" cy="390906"/>
          </a:xfrm>
        </p:spPr>
        <p:txBody>
          <a:bodyPr anchor="t" anchorCtr="0">
            <a:noAutofit/>
          </a:bodyPr>
          <a:lstStyle>
            <a:lvl1pPr algn="l">
              <a:defRPr sz="2100" b="1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ONTACT DETAIL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500" y="2119122"/>
            <a:ext cx="7059168" cy="2424303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6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Contact Information here</a:t>
            </a:r>
          </a:p>
        </p:txBody>
      </p:sp>
      <p:sp>
        <p:nvSpPr>
          <p:cNvPr id="10" name="Parallelogram 9"/>
          <p:cNvSpPr/>
          <p:nvPr userDrawn="1"/>
        </p:nvSpPr>
        <p:spPr>
          <a:xfrm>
            <a:off x="-18215" y="1680658"/>
            <a:ext cx="519378" cy="251011"/>
          </a:xfrm>
          <a:prstGeom prst="parallelogram">
            <a:avLst>
              <a:gd name="adj" fmla="val 59371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1991" y="4806299"/>
            <a:ext cx="2602009" cy="340838"/>
          </a:xfrm>
          <a:prstGeom prst="rect">
            <a:avLst/>
          </a:prstGeom>
        </p:spPr>
      </p:pic>
      <p:pic>
        <p:nvPicPr>
          <p:cNvPr id="2050" name="Picture 2" descr="Metis">
            <a:hlinkClick r:id="rId3" tooltip="metis-logo"/>
            <a:extLst>
              <a:ext uri="{FF2B5EF4-FFF2-40B4-BE49-F238E27FC236}">
                <a16:creationId xmlns:a16="http://schemas.microsoft.com/office/drawing/2014/main" id="{08E3C08A-378B-BC43-A4EF-43E8200BB1B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953" y="644620"/>
            <a:ext cx="597293" cy="926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verlay -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1"/>
            <a:ext cx="9144000" cy="5143499"/>
          </a:xfrm>
          <a:solidFill>
            <a:schemeClr val="accent1">
              <a:alpha val="90000"/>
            </a:schemeClr>
          </a:solidFill>
        </p:spPr>
        <p:txBody>
          <a:bodyPr lIns="548640" tIns="548640" rIns="548640" bIns="548640" anchor="t" anchorCtr="0">
            <a:noAutofit/>
          </a:bodyPr>
          <a:lstStyle>
            <a:lvl1pPr algn="l">
              <a:lnSpc>
                <a:spcPct val="10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</a:t>
            </a:r>
            <a:br>
              <a:rPr lang="en-US" dirty="0"/>
            </a:b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9144000" cy="5143499"/>
          </a:xfrm>
        </p:spPr>
        <p:txBody>
          <a:bodyPr lIns="1828800" tIns="1828800" rIns="1828800" bIns="640080" anchor="ctr"/>
          <a:lstStyle>
            <a:lvl1pPr marL="0" indent="0" algn="ctr">
              <a:buNone/>
              <a:defRPr baseline="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icon to insert an image, then right click image and “SEND TO BACK”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</a:t>
            </a:r>
            <a:r>
              <a:rPr lang="en-US" kern="0">
                <a:cs typeface="Arial" charset="0"/>
              </a:rPr>
              <a:t>Euromonitor</a:t>
            </a:r>
            <a:r>
              <a:rPr lang="en-US">
                <a:cs typeface="Arial" charset="0"/>
              </a:rPr>
              <a:t> Internation</a:t>
            </a:r>
            <a:r>
              <a:rPr lang="en-US">
                <a:cs typeface="Tahoma" pitchFamily="34" charset="0"/>
              </a:rPr>
              <a:t>al</a:t>
            </a:r>
            <a:endParaRPr lang="en-US" dirty="0">
              <a:cs typeface="Tahom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664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lay - Sla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1"/>
            <a:ext cx="9144000" cy="5143499"/>
          </a:xfrm>
          <a:solidFill>
            <a:schemeClr val="accent2">
              <a:alpha val="90000"/>
            </a:schemeClr>
          </a:solidFill>
        </p:spPr>
        <p:txBody>
          <a:bodyPr lIns="548640" tIns="548640" rIns="548640" bIns="548640" anchor="t" anchorCtr="0">
            <a:noAutofit/>
          </a:bodyPr>
          <a:lstStyle>
            <a:lvl1pPr algn="l">
              <a:lnSpc>
                <a:spcPct val="10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</a:t>
            </a:r>
            <a:br>
              <a:rPr lang="en-US" dirty="0"/>
            </a:b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9144000" cy="5143499"/>
          </a:xfrm>
        </p:spPr>
        <p:txBody>
          <a:bodyPr lIns="1828800" tIns="1828800" rIns="1828800" bIns="640080" anchor="ctr"/>
          <a:lstStyle>
            <a:lvl1pPr marL="0" indent="0" algn="ctr">
              <a:lnSpc>
                <a:spcPct val="100000"/>
              </a:lnSpc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icon to insert an image, then right click image and “SEND TO BACK”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>
                <a:cs typeface="Arial" charset="0"/>
              </a:rPr>
              <a:t>© </a:t>
            </a:r>
            <a:r>
              <a:rPr lang="en-US" kern="0" dirty="0" err="1">
                <a:cs typeface="Arial" charset="0"/>
              </a:rPr>
              <a:t>Euromonitor</a:t>
            </a:r>
            <a:r>
              <a:rPr lang="en-US" dirty="0">
                <a:cs typeface="Arial" charset="0"/>
              </a:rPr>
              <a:t> Internation</a:t>
            </a:r>
            <a:r>
              <a:rPr lang="en-US" dirty="0">
                <a:cs typeface="Tahoma" pitchFamily="34" charset="0"/>
              </a:rPr>
              <a:t>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259AE-6FA2-DE49-8C03-2AB7F423A378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lay -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1"/>
            <a:ext cx="9144000" cy="5143499"/>
          </a:xfrm>
          <a:solidFill>
            <a:schemeClr val="accent1">
              <a:alpha val="90000"/>
            </a:schemeClr>
          </a:solidFill>
        </p:spPr>
        <p:txBody>
          <a:bodyPr lIns="548640" tIns="548640" rIns="548640" bIns="548640" anchor="t" anchorCtr="0">
            <a:noAutofit/>
          </a:bodyPr>
          <a:lstStyle>
            <a:lvl1pPr algn="l">
              <a:lnSpc>
                <a:spcPct val="10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</a:t>
            </a:r>
            <a:br>
              <a:rPr lang="en-US" dirty="0"/>
            </a:b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9144000" cy="5143499"/>
          </a:xfrm>
        </p:spPr>
        <p:txBody>
          <a:bodyPr lIns="1828800" tIns="1828800" rIns="1828800" bIns="640080" anchor="ctr"/>
          <a:lstStyle>
            <a:lvl1pPr marL="0" indent="0" algn="ctr">
              <a:buNone/>
              <a:defRPr baseline="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icon to insert an image, then right click image and “SEND TO BACK”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</a:t>
            </a:r>
            <a:r>
              <a:rPr lang="en-US" kern="0">
                <a:cs typeface="Arial" charset="0"/>
              </a:rPr>
              <a:t>Euromonitor</a:t>
            </a:r>
            <a:r>
              <a:rPr lang="en-US">
                <a:cs typeface="Arial" charset="0"/>
              </a:rPr>
              <a:t> Internation</a:t>
            </a:r>
            <a:r>
              <a:rPr lang="en-US">
                <a:cs typeface="Tahoma" pitchFamily="34" charset="0"/>
              </a:rPr>
              <a:t>al</a:t>
            </a:r>
            <a:endParaRPr lang="en-US" dirty="0">
              <a:cs typeface="Tahom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7779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lay w Accent - S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1"/>
            <a:ext cx="9144000" cy="5143499"/>
          </a:xfrm>
          <a:solidFill>
            <a:schemeClr val="accent2">
              <a:alpha val="90000"/>
            </a:schemeClr>
          </a:solidFill>
        </p:spPr>
        <p:txBody>
          <a:bodyPr lIns="548640" tIns="548640" rIns="548640" bIns="1828800" anchor="t" anchorCtr="0"/>
          <a:lstStyle>
            <a:lvl1pPr algn="l">
              <a:lnSpc>
                <a:spcPct val="10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</a:t>
            </a:r>
            <a:br>
              <a:rPr lang="en-US" dirty="0"/>
            </a:b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9144000" cy="5143499"/>
          </a:xfrm>
        </p:spPr>
        <p:txBody>
          <a:bodyPr lIns="1828800" tIns="1828800" rIns="1828800" bIns="640080" anchor="ctr">
            <a:noAutofit/>
          </a:bodyPr>
          <a:lstStyle>
            <a:lvl1pPr marL="0" indent="0" algn="ctr"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icon to insert an image, then right click image and “SEND TO BACK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0" y="3895708"/>
            <a:ext cx="7836726" cy="911015"/>
          </a:xfrm>
          <a:custGeom>
            <a:avLst/>
            <a:gdLst>
              <a:gd name="connsiteX0" fmla="*/ 0 w 8047038"/>
              <a:gd name="connsiteY0" fmla="*/ 0 h 1194330"/>
              <a:gd name="connsiteX1" fmla="*/ 8047038 w 8047038"/>
              <a:gd name="connsiteY1" fmla="*/ 0 h 1194330"/>
              <a:gd name="connsiteX2" fmla="*/ 8047038 w 8047038"/>
              <a:gd name="connsiteY2" fmla="*/ 1194330 h 1194330"/>
              <a:gd name="connsiteX3" fmla="*/ 0 w 8047038"/>
              <a:gd name="connsiteY3" fmla="*/ 1194330 h 1194330"/>
              <a:gd name="connsiteX4" fmla="*/ 0 w 8047038"/>
              <a:gd name="connsiteY4" fmla="*/ 0 h 1194330"/>
              <a:gd name="connsiteX0" fmla="*/ 0 w 8047038"/>
              <a:gd name="connsiteY0" fmla="*/ 0 h 1202494"/>
              <a:gd name="connsiteX1" fmla="*/ 8047038 w 8047038"/>
              <a:gd name="connsiteY1" fmla="*/ 0 h 1202494"/>
              <a:gd name="connsiteX2" fmla="*/ 7336746 w 8047038"/>
              <a:gd name="connsiteY2" fmla="*/ 1202494 h 1202494"/>
              <a:gd name="connsiteX3" fmla="*/ 0 w 8047038"/>
              <a:gd name="connsiteY3" fmla="*/ 1194330 h 1202494"/>
              <a:gd name="connsiteX4" fmla="*/ 0 w 8047038"/>
              <a:gd name="connsiteY4" fmla="*/ 0 h 1202494"/>
              <a:gd name="connsiteX0" fmla="*/ 0 w 7836726"/>
              <a:gd name="connsiteY0" fmla="*/ 12192 h 1214686"/>
              <a:gd name="connsiteX1" fmla="*/ 7836726 w 7836726"/>
              <a:gd name="connsiteY1" fmla="*/ 0 h 1214686"/>
              <a:gd name="connsiteX2" fmla="*/ 7336746 w 7836726"/>
              <a:gd name="connsiteY2" fmla="*/ 1214686 h 1214686"/>
              <a:gd name="connsiteX3" fmla="*/ 0 w 7836726"/>
              <a:gd name="connsiteY3" fmla="*/ 1206522 h 1214686"/>
              <a:gd name="connsiteX4" fmla="*/ 0 w 7836726"/>
              <a:gd name="connsiteY4" fmla="*/ 12192 h 1214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36726" h="1214686">
                <a:moveTo>
                  <a:pt x="0" y="12192"/>
                </a:moveTo>
                <a:lnTo>
                  <a:pt x="7836726" y="0"/>
                </a:lnTo>
                <a:lnTo>
                  <a:pt x="7336746" y="1214686"/>
                </a:lnTo>
                <a:lnTo>
                  <a:pt x="0" y="1206522"/>
                </a:lnTo>
                <a:lnTo>
                  <a:pt x="0" y="12192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566928" tIns="0" rIns="0" bIns="91440" anchor="ctr" anchorCtr="0">
            <a:noAutofit/>
          </a:bodyPr>
          <a:lstStyle>
            <a:lvl1pPr marL="0" marR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</a:t>
            </a:r>
            <a:r>
              <a:rPr lang="en-US" kern="0">
                <a:cs typeface="Arial" charset="0"/>
              </a:rPr>
              <a:t>Euromonitor</a:t>
            </a:r>
            <a:r>
              <a:rPr lang="en-US">
                <a:cs typeface="Arial" charset="0"/>
              </a:rPr>
              <a:t> Internation</a:t>
            </a:r>
            <a:r>
              <a:rPr lang="en-US">
                <a:cs typeface="Tahoma" pitchFamily="34" charset="0"/>
              </a:rPr>
              <a:t>al</a:t>
            </a:r>
            <a:endParaRPr lang="en-US" dirty="0">
              <a:cs typeface="Tahom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Overlay - S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0" y="0"/>
            <a:ext cx="6680048" cy="5152644"/>
          </a:xfrm>
          <a:custGeom>
            <a:avLst/>
            <a:gdLst>
              <a:gd name="connsiteX0" fmla="*/ 0 w 6680200"/>
              <a:gd name="connsiteY0" fmla="*/ 6858000 h 6858000"/>
              <a:gd name="connsiteX1" fmla="*/ 0 w 6680200"/>
              <a:gd name="connsiteY1" fmla="*/ 0 h 6858000"/>
              <a:gd name="connsiteX2" fmla="*/ 6680200 w 6680200"/>
              <a:gd name="connsiteY2" fmla="*/ 0 h 6858000"/>
              <a:gd name="connsiteX3" fmla="*/ 6680200 w 6680200"/>
              <a:gd name="connsiteY3" fmla="*/ 6858000 h 6858000"/>
              <a:gd name="connsiteX4" fmla="*/ 0 w 6680200"/>
              <a:gd name="connsiteY4" fmla="*/ 6858000 h 6858000"/>
              <a:gd name="connsiteX0" fmla="*/ 0 w 6680200"/>
              <a:gd name="connsiteY0" fmla="*/ 6858000 h 6858000"/>
              <a:gd name="connsiteX1" fmla="*/ 0 w 6680200"/>
              <a:gd name="connsiteY1" fmla="*/ 0 h 6858000"/>
              <a:gd name="connsiteX2" fmla="*/ 6680200 w 6680200"/>
              <a:gd name="connsiteY2" fmla="*/ 0 h 6858000"/>
              <a:gd name="connsiteX3" fmla="*/ 3396673 w 6680200"/>
              <a:gd name="connsiteY3" fmla="*/ 6858000 h 6858000"/>
              <a:gd name="connsiteX4" fmla="*/ 0 w 6680200"/>
              <a:gd name="connsiteY4" fmla="*/ 6858000 h 6858000"/>
              <a:gd name="connsiteX0" fmla="*/ 0 w 6680200"/>
              <a:gd name="connsiteY0" fmla="*/ 6858000 h 6858000"/>
              <a:gd name="connsiteX1" fmla="*/ 0 w 6680200"/>
              <a:gd name="connsiteY1" fmla="*/ 0 h 6858000"/>
              <a:gd name="connsiteX2" fmla="*/ 6680200 w 6680200"/>
              <a:gd name="connsiteY2" fmla="*/ 0 h 6858000"/>
              <a:gd name="connsiteX3" fmla="*/ 3863028 w 6680200"/>
              <a:gd name="connsiteY3" fmla="*/ 6833616 h 6858000"/>
              <a:gd name="connsiteX4" fmla="*/ 0 w 6680200"/>
              <a:gd name="connsiteY4" fmla="*/ 6858000 h 6858000"/>
              <a:gd name="connsiteX0" fmla="*/ 0 w 6680200"/>
              <a:gd name="connsiteY0" fmla="*/ 6858000 h 6870192"/>
              <a:gd name="connsiteX1" fmla="*/ 0 w 6680200"/>
              <a:gd name="connsiteY1" fmla="*/ 0 h 6870192"/>
              <a:gd name="connsiteX2" fmla="*/ 6680200 w 6680200"/>
              <a:gd name="connsiteY2" fmla="*/ 0 h 6870192"/>
              <a:gd name="connsiteX3" fmla="*/ 3853884 w 6680200"/>
              <a:gd name="connsiteY3" fmla="*/ 6870192 h 6870192"/>
              <a:gd name="connsiteX4" fmla="*/ 0 w 6680200"/>
              <a:gd name="connsiteY4" fmla="*/ 6858000 h 6870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80200" h="6870192">
                <a:moveTo>
                  <a:pt x="0" y="6858000"/>
                </a:moveTo>
                <a:lnTo>
                  <a:pt x="0" y="0"/>
                </a:lnTo>
                <a:lnTo>
                  <a:pt x="6680200" y="0"/>
                </a:lnTo>
                <a:lnTo>
                  <a:pt x="3853884" y="6870192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</p:spPr>
        <p:txBody>
          <a:bodyPr lIns="566928" rIns="2743200" bIns="822960" anchor="b" anchorCtr="0"/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501" y="314325"/>
            <a:ext cx="4000500" cy="3334131"/>
          </a:xfrm>
          <a:prstGeom prst="rect">
            <a:avLst/>
          </a:prstGeom>
          <a:noFill/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</a:t>
            </a:r>
            <a:br>
              <a:rPr lang="en-US" dirty="0"/>
            </a:b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</a:t>
            </a:r>
            <a:r>
              <a:rPr lang="en-US" kern="0">
                <a:cs typeface="Arial" charset="0"/>
              </a:rPr>
              <a:t>Euromonitor</a:t>
            </a:r>
            <a:r>
              <a:rPr lang="en-US">
                <a:cs typeface="Arial" charset="0"/>
              </a:rPr>
              <a:t> Internation</a:t>
            </a:r>
            <a:r>
              <a:rPr lang="en-US">
                <a:cs typeface="Tahoma" pitchFamily="34" charset="0"/>
              </a:rPr>
              <a:t>al</a:t>
            </a:r>
            <a:endParaRPr lang="en-US" dirty="0">
              <a:cs typeface="Tahom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0" tIns="1828800" rIns="1828800" bIns="640080" anchor="ctr"/>
          <a:lstStyle>
            <a:lvl1pPr marL="0" indent="0" algn="ctr">
              <a:lnSpc>
                <a:spcPts val="2100"/>
              </a:lnSpc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icon to insert an image, then right click image and “SEND TO </a:t>
            </a:r>
            <a:r>
              <a:rPr lang="en-US"/>
              <a:t>BACK”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171065743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Overlay -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6680048" cy="5152644"/>
          </a:xfrm>
          <a:custGeom>
            <a:avLst/>
            <a:gdLst>
              <a:gd name="connsiteX0" fmla="*/ 0 w 6680200"/>
              <a:gd name="connsiteY0" fmla="*/ 6858000 h 6858000"/>
              <a:gd name="connsiteX1" fmla="*/ 0 w 6680200"/>
              <a:gd name="connsiteY1" fmla="*/ 0 h 6858000"/>
              <a:gd name="connsiteX2" fmla="*/ 6680200 w 6680200"/>
              <a:gd name="connsiteY2" fmla="*/ 0 h 6858000"/>
              <a:gd name="connsiteX3" fmla="*/ 6680200 w 6680200"/>
              <a:gd name="connsiteY3" fmla="*/ 6858000 h 6858000"/>
              <a:gd name="connsiteX4" fmla="*/ 0 w 6680200"/>
              <a:gd name="connsiteY4" fmla="*/ 6858000 h 6858000"/>
              <a:gd name="connsiteX0" fmla="*/ 0 w 6680200"/>
              <a:gd name="connsiteY0" fmla="*/ 6858000 h 6858000"/>
              <a:gd name="connsiteX1" fmla="*/ 0 w 6680200"/>
              <a:gd name="connsiteY1" fmla="*/ 0 h 6858000"/>
              <a:gd name="connsiteX2" fmla="*/ 6680200 w 6680200"/>
              <a:gd name="connsiteY2" fmla="*/ 0 h 6858000"/>
              <a:gd name="connsiteX3" fmla="*/ 3396673 w 6680200"/>
              <a:gd name="connsiteY3" fmla="*/ 6858000 h 6858000"/>
              <a:gd name="connsiteX4" fmla="*/ 0 w 6680200"/>
              <a:gd name="connsiteY4" fmla="*/ 6858000 h 6858000"/>
              <a:gd name="connsiteX0" fmla="*/ 0 w 6680200"/>
              <a:gd name="connsiteY0" fmla="*/ 6858000 h 6858000"/>
              <a:gd name="connsiteX1" fmla="*/ 0 w 6680200"/>
              <a:gd name="connsiteY1" fmla="*/ 0 h 6858000"/>
              <a:gd name="connsiteX2" fmla="*/ 6680200 w 6680200"/>
              <a:gd name="connsiteY2" fmla="*/ 0 h 6858000"/>
              <a:gd name="connsiteX3" fmla="*/ 3863028 w 6680200"/>
              <a:gd name="connsiteY3" fmla="*/ 6833616 h 6858000"/>
              <a:gd name="connsiteX4" fmla="*/ 0 w 6680200"/>
              <a:gd name="connsiteY4" fmla="*/ 6858000 h 6858000"/>
              <a:gd name="connsiteX0" fmla="*/ 0 w 6680200"/>
              <a:gd name="connsiteY0" fmla="*/ 6858000 h 6870192"/>
              <a:gd name="connsiteX1" fmla="*/ 0 w 6680200"/>
              <a:gd name="connsiteY1" fmla="*/ 0 h 6870192"/>
              <a:gd name="connsiteX2" fmla="*/ 6680200 w 6680200"/>
              <a:gd name="connsiteY2" fmla="*/ 0 h 6870192"/>
              <a:gd name="connsiteX3" fmla="*/ 3853884 w 6680200"/>
              <a:gd name="connsiteY3" fmla="*/ 6870192 h 6870192"/>
              <a:gd name="connsiteX4" fmla="*/ 0 w 6680200"/>
              <a:gd name="connsiteY4" fmla="*/ 6858000 h 6870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80200" h="6870192">
                <a:moveTo>
                  <a:pt x="0" y="6858000"/>
                </a:moveTo>
                <a:lnTo>
                  <a:pt x="0" y="0"/>
                </a:lnTo>
                <a:lnTo>
                  <a:pt x="6680200" y="0"/>
                </a:lnTo>
                <a:lnTo>
                  <a:pt x="3853884" y="6870192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</p:spPr>
        <p:txBody>
          <a:bodyPr lIns="566928" rIns="2743200" bIns="822960" anchor="b" anchorCtr="0"/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499" y="314325"/>
            <a:ext cx="4231161" cy="3360420"/>
          </a:xfrm>
          <a:prstGeom prst="rect">
            <a:avLst/>
          </a:prstGeom>
          <a:noFill/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</a:t>
            </a:r>
            <a:br>
              <a:rPr lang="en-US" dirty="0"/>
            </a:b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</a:t>
            </a:r>
            <a:r>
              <a:rPr lang="en-US" kern="0">
                <a:cs typeface="Arial" charset="0"/>
              </a:rPr>
              <a:t>Euromonitor</a:t>
            </a:r>
            <a:r>
              <a:rPr lang="en-US">
                <a:cs typeface="Arial" charset="0"/>
              </a:rPr>
              <a:t> Internation</a:t>
            </a:r>
            <a:r>
              <a:rPr lang="en-US">
                <a:cs typeface="Tahoma" pitchFamily="34" charset="0"/>
              </a:rPr>
              <a:t>al</a:t>
            </a:r>
            <a:endParaRPr lang="en-US" dirty="0">
              <a:cs typeface="Tahom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0" tIns="1828800" rIns="1828800" bIns="640080" anchor="ctr"/>
          <a:lstStyle>
            <a:lvl1pPr marL="0" indent="0" algn="ctr"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icon to insert an image, then right click image and “SEND TO BACK”</a:t>
            </a: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w Accen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0" y="3910977"/>
            <a:ext cx="7763574" cy="1232524"/>
          </a:xfrm>
          <a:custGeom>
            <a:avLst/>
            <a:gdLst>
              <a:gd name="connsiteX0" fmla="*/ 0 w 8047038"/>
              <a:gd name="connsiteY0" fmla="*/ 0 h 1194330"/>
              <a:gd name="connsiteX1" fmla="*/ 8047038 w 8047038"/>
              <a:gd name="connsiteY1" fmla="*/ 0 h 1194330"/>
              <a:gd name="connsiteX2" fmla="*/ 8047038 w 8047038"/>
              <a:gd name="connsiteY2" fmla="*/ 1194330 h 1194330"/>
              <a:gd name="connsiteX3" fmla="*/ 0 w 8047038"/>
              <a:gd name="connsiteY3" fmla="*/ 1194330 h 1194330"/>
              <a:gd name="connsiteX4" fmla="*/ 0 w 8047038"/>
              <a:gd name="connsiteY4" fmla="*/ 0 h 1194330"/>
              <a:gd name="connsiteX0" fmla="*/ 0 w 8047038"/>
              <a:gd name="connsiteY0" fmla="*/ 0 h 1202494"/>
              <a:gd name="connsiteX1" fmla="*/ 8047038 w 8047038"/>
              <a:gd name="connsiteY1" fmla="*/ 0 h 1202494"/>
              <a:gd name="connsiteX2" fmla="*/ 7336746 w 8047038"/>
              <a:gd name="connsiteY2" fmla="*/ 1202494 h 1202494"/>
              <a:gd name="connsiteX3" fmla="*/ 0 w 8047038"/>
              <a:gd name="connsiteY3" fmla="*/ 1194330 h 1202494"/>
              <a:gd name="connsiteX4" fmla="*/ 0 w 8047038"/>
              <a:gd name="connsiteY4" fmla="*/ 0 h 1202494"/>
              <a:gd name="connsiteX0" fmla="*/ 0 w 8047038"/>
              <a:gd name="connsiteY0" fmla="*/ 0 h 1194330"/>
              <a:gd name="connsiteX1" fmla="*/ 8047038 w 8047038"/>
              <a:gd name="connsiteY1" fmla="*/ 0 h 1194330"/>
              <a:gd name="connsiteX2" fmla="*/ 7067324 w 8047038"/>
              <a:gd name="connsiteY2" fmla="*/ 1190605 h 1194330"/>
              <a:gd name="connsiteX3" fmla="*/ 0 w 8047038"/>
              <a:gd name="connsiteY3" fmla="*/ 1194330 h 1194330"/>
              <a:gd name="connsiteX4" fmla="*/ 0 w 8047038"/>
              <a:gd name="connsiteY4" fmla="*/ 0 h 1194330"/>
              <a:gd name="connsiteX0" fmla="*/ 0 w 8047038"/>
              <a:gd name="connsiteY0" fmla="*/ 0 h 1194330"/>
              <a:gd name="connsiteX1" fmla="*/ 8047038 w 8047038"/>
              <a:gd name="connsiteY1" fmla="*/ 0 h 1194330"/>
              <a:gd name="connsiteX2" fmla="*/ 6830560 w 8047038"/>
              <a:gd name="connsiteY2" fmla="*/ 1172771 h 1194330"/>
              <a:gd name="connsiteX3" fmla="*/ 0 w 8047038"/>
              <a:gd name="connsiteY3" fmla="*/ 1194330 h 1194330"/>
              <a:gd name="connsiteX4" fmla="*/ 0 w 8047038"/>
              <a:gd name="connsiteY4" fmla="*/ 0 h 1194330"/>
              <a:gd name="connsiteX0" fmla="*/ 0 w 8047038"/>
              <a:gd name="connsiteY0" fmla="*/ 0 h 1196549"/>
              <a:gd name="connsiteX1" fmla="*/ 8047038 w 8047038"/>
              <a:gd name="connsiteY1" fmla="*/ 0 h 1196549"/>
              <a:gd name="connsiteX2" fmla="*/ 7067324 w 8047038"/>
              <a:gd name="connsiteY2" fmla="*/ 1196549 h 1196549"/>
              <a:gd name="connsiteX3" fmla="*/ 0 w 8047038"/>
              <a:gd name="connsiteY3" fmla="*/ 1194330 h 1196549"/>
              <a:gd name="connsiteX4" fmla="*/ 0 w 8047038"/>
              <a:gd name="connsiteY4" fmla="*/ 0 h 1196549"/>
              <a:gd name="connsiteX0" fmla="*/ 0 w 7763574"/>
              <a:gd name="connsiteY0" fmla="*/ 0 h 1196549"/>
              <a:gd name="connsiteX1" fmla="*/ 7763574 w 7763574"/>
              <a:gd name="connsiteY1" fmla="*/ 0 h 1196549"/>
              <a:gd name="connsiteX2" fmla="*/ 7067324 w 7763574"/>
              <a:gd name="connsiteY2" fmla="*/ 1196549 h 1196549"/>
              <a:gd name="connsiteX3" fmla="*/ 0 w 7763574"/>
              <a:gd name="connsiteY3" fmla="*/ 1194330 h 1196549"/>
              <a:gd name="connsiteX4" fmla="*/ 0 w 7763574"/>
              <a:gd name="connsiteY4" fmla="*/ 0 h 1196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3574" h="1196549">
                <a:moveTo>
                  <a:pt x="0" y="0"/>
                </a:moveTo>
                <a:lnTo>
                  <a:pt x="7763574" y="0"/>
                </a:lnTo>
                <a:lnTo>
                  <a:pt x="7067324" y="1196549"/>
                </a:lnTo>
                <a:lnTo>
                  <a:pt x="0" y="119433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</p:spPr>
        <p:txBody>
          <a:bodyPr wrap="square" lIns="566928" tIns="0" rIns="822960" bIns="365760" anchor="ctr" anchorCtr="0">
            <a:noAutofit/>
          </a:bodyPr>
          <a:lstStyle>
            <a:lvl1pPr marL="0" marR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498" y="314326"/>
            <a:ext cx="4000502" cy="3495506"/>
          </a:xfrm>
          <a:noFill/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Click to edit Master title </a:t>
            </a:r>
            <a:br>
              <a:rPr lang="en-US" dirty="0"/>
            </a:b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>
                <a:cs typeface="Arial" charset="0"/>
              </a:rPr>
              <a:t>© </a:t>
            </a:r>
            <a:r>
              <a:rPr lang="en-US" kern="0" dirty="0" err="1">
                <a:cs typeface="Arial" charset="0"/>
              </a:rPr>
              <a:t>Euromonitor</a:t>
            </a:r>
            <a:r>
              <a:rPr lang="en-US" dirty="0">
                <a:cs typeface="Arial" charset="0"/>
              </a:rPr>
              <a:t> Internation</a:t>
            </a:r>
            <a:r>
              <a:rPr lang="en-US" dirty="0">
                <a:cs typeface="Tahoma" pitchFamily="34" charset="0"/>
              </a:rPr>
              <a:t>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0" tIns="1828800" rIns="1828800" bIns="640080" anchor="ctr"/>
          <a:lstStyle>
            <a:lvl1pPr marL="0" indent="0" algn="ctr"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icon to insert an image, then right click image and “SEND TO BACK”</a:t>
            </a: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w Accent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 flipH="1">
            <a:off x="1413268" y="3910977"/>
            <a:ext cx="7736142" cy="1232524"/>
          </a:xfrm>
          <a:custGeom>
            <a:avLst/>
            <a:gdLst>
              <a:gd name="connsiteX0" fmla="*/ 0 w 8047038"/>
              <a:gd name="connsiteY0" fmla="*/ 0 h 1194330"/>
              <a:gd name="connsiteX1" fmla="*/ 8047038 w 8047038"/>
              <a:gd name="connsiteY1" fmla="*/ 0 h 1194330"/>
              <a:gd name="connsiteX2" fmla="*/ 8047038 w 8047038"/>
              <a:gd name="connsiteY2" fmla="*/ 1194330 h 1194330"/>
              <a:gd name="connsiteX3" fmla="*/ 0 w 8047038"/>
              <a:gd name="connsiteY3" fmla="*/ 1194330 h 1194330"/>
              <a:gd name="connsiteX4" fmla="*/ 0 w 8047038"/>
              <a:gd name="connsiteY4" fmla="*/ 0 h 1194330"/>
              <a:gd name="connsiteX0" fmla="*/ 0 w 8047038"/>
              <a:gd name="connsiteY0" fmla="*/ 0 h 1202494"/>
              <a:gd name="connsiteX1" fmla="*/ 8047038 w 8047038"/>
              <a:gd name="connsiteY1" fmla="*/ 0 h 1202494"/>
              <a:gd name="connsiteX2" fmla="*/ 7336746 w 8047038"/>
              <a:gd name="connsiteY2" fmla="*/ 1202494 h 1202494"/>
              <a:gd name="connsiteX3" fmla="*/ 0 w 8047038"/>
              <a:gd name="connsiteY3" fmla="*/ 1194330 h 1202494"/>
              <a:gd name="connsiteX4" fmla="*/ 0 w 8047038"/>
              <a:gd name="connsiteY4" fmla="*/ 0 h 1202494"/>
              <a:gd name="connsiteX0" fmla="*/ 0 w 8047038"/>
              <a:gd name="connsiteY0" fmla="*/ 0 h 1194330"/>
              <a:gd name="connsiteX1" fmla="*/ 8047038 w 8047038"/>
              <a:gd name="connsiteY1" fmla="*/ 0 h 1194330"/>
              <a:gd name="connsiteX2" fmla="*/ 7067324 w 8047038"/>
              <a:gd name="connsiteY2" fmla="*/ 1190605 h 1194330"/>
              <a:gd name="connsiteX3" fmla="*/ 0 w 8047038"/>
              <a:gd name="connsiteY3" fmla="*/ 1194330 h 1194330"/>
              <a:gd name="connsiteX4" fmla="*/ 0 w 8047038"/>
              <a:gd name="connsiteY4" fmla="*/ 0 h 1194330"/>
              <a:gd name="connsiteX0" fmla="*/ 0 w 8047038"/>
              <a:gd name="connsiteY0" fmla="*/ 0 h 1194330"/>
              <a:gd name="connsiteX1" fmla="*/ 8047038 w 8047038"/>
              <a:gd name="connsiteY1" fmla="*/ 0 h 1194330"/>
              <a:gd name="connsiteX2" fmla="*/ 6830560 w 8047038"/>
              <a:gd name="connsiteY2" fmla="*/ 1172771 h 1194330"/>
              <a:gd name="connsiteX3" fmla="*/ 0 w 8047038"/>
              <a:gd name="connsiteY3" fmla="*/ 1194330 h 1194330"/>
              <a:gd name="connsiteX4" fmla="*/ 0 w 8047038"/>
              <a:gd name="connsiteY4" fmla="*/ 0 h 1194330"/>
              <a:gd name="connsiteX0" fmla="*/ 0 w 8047038"/>
              <a:gd name="connsiteY0" fmla="*/ 0 h 1196549"/>
              <a:gd name="connsiteX1" fmla="*/ 8047038 w 8047038"/>
              <a:gd name="connsiteY1" fmla="*/ 0 h 1196549"/>
              <a:gd name="connsiteX2" fmla="*/ 7067324 w 8047038"/>
              <a:gd name="connsiteY2" fmla="*/ 1196549 h 1196549"/>
              <a:gd name="connsiteX3" fmla="*/ 0 w 8047038"/>
              <a:gd name="connsiteY3" fmla="*/ 1194330 h 1196549"/>
              <a:gd name="connsiteX4" fmla="*/ 0 w 8047038"/>
              <a:gd name="connsiteY4" fmla="*/ 0 h 1196549"/>
              <a:gd name="connsiteX0" fmla="*/ 0 w 7717854"/>
              <a:gd name="connsiteY0" fmla="*/ 0 h 1196549"/>
              <a:gd name="connsiteX1" fmla="*/ 7717854 w 7717854"/>
              <a:gd name="connsiteY1" fmla="*/ 8877 h 1196549"/>
              <a:gd name="connsiteX2" fmla="*/ 7067324 w 7717854"/>
              <a:gd name="connsiteY2" fmla="*/ 1196549 h 1196549"/>
              <a:gd name="connsiteX3" fmla="*/ 0 w 7717854"/>
              <a:gd name="connsiteY3" fmla="*/ 1194330 h 1196549"/>
              <a:gd name="connsiteX4" fmla="*/ 0 w 7717854"/>
              <a:gd name="connsiteY4" fmla="*/ 0 h 1196549"/>
              <a:gd name="connsiteX0" fmla="*/ 0 w 7736142"/>
              <a:gd name="connsiteY0" fmla="*/ 0 h 1196549"/>
              <a:gd name="connsiteX1" fmla="*/ 7736142 w 7736142"/>
              <a:gd name="connsiteY1" fmla="*/ 0 h 1196549"/>
              <a:gd name="connsiteX2" fmla="*/ 7067324 w 7736142"/>
              <a:gd name="connsiteY2" fmla="*/ 1196549 h 1196549"/>
              <a:gd name="connsiteX3" fmla="*/ 0 w 7736142"/>
              <a:gd name="connsiteY3" fmla="*/ 1194330 h 1196549"/>
              <a:gd name="connsiteX4" fmla="*/ 0 w 7736142"/>
              <a:gd name="connsiteY4" fmla="*/ 0 h 1196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36142" h="1196549">
                <a:moveTo>
                  <a:pt x="0" y="0"/>
                </a:moveTo>
                <a:lnTo>
                  <a:pt x="7736142" y="0"/>
                </a:lnTo>
                <a:lnTo>
                  <a:pt x="7067324" y="1196549"/>
                </a:lnTo>
                <a:lnTo>
                  <a:pt x="0" y="119433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</p:spPr>
        <p:txBody>
          <a:bodyPr wrap="square" lIns="822960" tIns="0" rIns="566928" bIns="365760" anchor="ctr" anchorCtr="0">
            <a:noAutofit/>
          </a:bodyPr>
          <a:lstStyle>
            <a:lvl1pPr marL="0" marR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1998" y="314326"/>
            <a:ext cx="4000502" cy="3495506"/>
          </a:xfrm>
          <a:noFill/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32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Click to edit Master title </a:t>
            </a:r>
            <a:br>
              <a:rPr lang="en-US" dirty="0"/>
            </a:b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</a:t>
            </a:r>
            <a:r>
              <a:rPr lang="en-US" kern="0">
                <a:cs typeface="Arial" charset="0"/>
              </a:rPr>
              <a:t>Euromonitor</a:t>
            </a:r>
            <a:r>
              <a:rPr lang="en-US">
                <a:cs typeface="Arial" charset="0"/>
              </a:rPr>
              <a:t> Internation</a:t>
            </a:r>
            <a:r>
              <a:rPr lang="en-US">
                <a:cs typeface="Tahoma" pitchFamily="34" charset="0"/>
              </a:rPr>
              <a:t>al</a:t>
            </a:r>
            <a:endParaRPr lang="en-US" dirty="0">
              <a:cs typeface="Tahom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0" tIns="1828800" rIns="1828800" bIns="640080" anchor="ctr"/>
          <a:lstStyle>
            <a:lvl1pPr marL="0" indent="0" algn="ctr"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icon to insert an image, then right click image and “SEND TO BACK”</a:t>
            </a: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Overlay w Body - White/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0" y="0"/>
            <a:ext cx="6680048" cy="5143500"/>
          </a:xfrm>
          <a:custGeom>
            <a:avLst/>
            <a:gdLst>
              <a:gd name="connsiteX0" fmla="*/ 0 w 6680200"/>
              <a:gd name="connsiteY0" fmla="*/ 6858000 h 6858000"/>
              <a:gd name="connsiteX1" fmla="*/ 0 w 6680200"/>
              <a:gd name="connsiteY1" fmla="*/ 0 h 6858000"/>
              <a:gd name="connsiteX2" fmla="*/ 6680200 w 6680200"/>
              <a:gd name="connsiteY2" fmla="*/ 0 h 6858000"/>
              <a:gd name="connsiteX3" fmla="*/ 6680200 w 6680200"/>
              <a:gd name="connsiteY3" fmla="*/ 6858000 h 6858000"/>
              <a:gd name="connsiteX4" fmla="*/ 0 w 6680200"/>
              <a:gd name="connsiteY4" fmla="*/ 6858000 h 6858000"/>
              <a:gd name="connsiteX0" fmla="*/ 0 w 6680200"/>
              <a:gd name="connsiteY0" fmla="*/ 6858000 h 6858000"/>
              <a:gd name="connsiteX1" fmla="*/ 0 w 6680200"/>
              <a:gd name="connsiteY1" fmla="*/ 0 h 6858000"/>
              <a:gd name="connsiteX2" fmla="*/ 6680200 w 6680200"/>
              <a:gd name="connsiteY2" fmla="*/ 0 h 6858000"/>
              <a:gd name="connsiteX3" fmla="*/ 3396673 w 6680200"/>
              <a:gd name="connsiteY3" fmla="*/ 6858000 h 6858000"/>
              <a:gd name="connsiteX4" fmla="*/ 0 w 6680200"/>
              <a:gd name="connsiteY4" fmla="*/ 6858000 h 6858000"/>
              <a:gd name="connsiteX0" fmla="*/ 0 w 6680200"/>
              <a:gd name="connsiteY0" fmla="*/ 6858000 h 6858000"/>
              <a:gd name="connsiteX1" fmla="*/ 0 w 6680200"/>
              <a:gd name="connsiteY1" fmla="*/ 0 h 6858000"/>
              <a:gd name="connsiteX2" fmla="*/ 6680200 w 6680200"/>
              <a:gd name="connsiteY2" fmla="*/ 0 h 6858000"/>
              <a:gd name="connsiteX3" fmla="*/ 3863028 w 6680200"/>
              <a:gd name="connsiteY3" fmla="*/ 6858000 h 6858000"/>
              <a:gd name="connsiteX4" fmla="*/ 0 w 66802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80200" h="6858000">
                <a:moveTo>
                  <a:pt x="0" y="6858000"/>
                </a:moveTo>
                <a:lnTo>
                  <a:pt x="0" y="0"/>
                </a:lnTo>
                <a:lnTo>
                  <a:pt x="6680200" y="0"/>
                </a:lnTo>
                <a:lnTo>
                  <a:pt x="386302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  <a:alpha val="90000"/>
            </a:schemeClr>
          </a:solidFill>
        </p:spPr>
        <p:txBody>
          <a:bodyPr lIns="566928" tIns="1828800" rIns="2743200" bIns="822960"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319517"/>
            <a:ext cx="6502924" cy="894492"/>
          </a:xfrm>
          <a:custGeom>
            <a:avLst/>
            <a:gdLst>
              <a:gd name="connsiteX0" fmla="*/ 0 w 6475492"/>
              <a:gd name="connsiteY0" fmla="*/ 0 h 1192655"/>
              <a:gd name="connsiteX1" fmla="*/ 6475492 w 6475492"/>
              <a:gd name="connsiteY1" fmla="*/ 0 h 1192655"/>
              <a:gd name="connsiteX2" fmla="*/ 6475492 w 6475492"/>
              <a:gd name="connsiteY2" fmla="*/ 1192655 h 1192655"/>
              <a:gd name="connsiteX3" fmla="*/ 0 w 6475492"/>
              <a:gd name="connsiteY3" fmla="*/ 1192655 h 1192655"/>
              <a:gd name="connsiteX4" fmla="*/ 0 w 6475492"/>
              <a:gd name="connsiteY4" fmla="*/ 0 h 1192655"/>
              <a:gd name="connsiteX0" fmla="*/ 0 w 6475492"/>
              <a:gd name="connsiteY0" fmla="*/ 0 h 1192655"/>
              <a:gd name="connsiteX1" fmla="*/ 6475492 w 6475492"/>
              <a:gd name="connsiteY1" fmla="*/ 0 h 1192655"/>
              <a:gd name="connsiteX2" fmla="*/ 5914383 w 6475492"/>
              <a:gd name="connsiteY2" fmla="*/ 1192655 h 1192655"/>
              <a:gd name="connsiteX3" fmla="*/ 0 w 6475492"/>
              <a:gd name="connsiteY3" fmla="*/ 1192655 h 1192655"/>
              <a:gd name="connsiteX4" fmla="*/ 0 w 6475492"/>
              <a:gd name="connsiteY4" fmla="*/ 0 h 1192655"/>
              <a:gd name="connsiteX0" fmla="*/ 0 w 6475492"/>
              <a:gd name="connsiteY0" fmla="*/ 0 h 1192655"/>
              <a:gd name="connsiteX1" fmla="*/ 6475492 w 6475492"/>
              <a:gd name="connsiteY1" fmla="*/ 0 h 1192655"/>
              <a:gd name="connsiteX2" fmla="*/ 5885808 w 6475492"/>
              <a:gd name="connsiteY2" fmla="*/ 1192655 h 1192655"/>
              <a:gd name="connsiteX3" fmla="*/ 0 w 6475492"/>
              <a:gd name="connsiteY3" fmla="*/ 1192655 h 1192655"/>
              <a:gd name="connsiteX4" fmla="*/ 0 w 6475492"/>
              <a:gd name="connsiteY4" fmla="*/ 0 h 1192655"/>
              <a:gd name="connsiteX0" fmla="*/ 0 w 6475492"/>
              <a:gd name="connsiteY0" fmla="*/ 0 h 1195830"/>
              <a:gd name="connsiteX1" fmla="*/ 6475492 w 6475492"/>
              <a:gd name="connsiteY1" fmla="*/ 0 h 1195830"/>
              <a:gd name="connsiteX2" fmla="*/ 5901683 w 6475492"/>
              <a:gd name="connsiteY2" fmla="*/ 1195830 h 1195830"/>
              <a:gd name="connsiteX3" fmla="*/ 0 w 6475492"/>
              <a:gd name="connsiteY3" fmla="*/ 1192655 h 1195830"/>
              <a:gd name="connsiteX4" fmla="*/ 0 w 6475492"/>
              <a:gd name="connsiteY4" fmla="*/ 0 h 1195830"/>
              <a:gd name="connsiteX0" fmla="*/ 0 w 6475492"/>
              <a:gd name="connsiteY0" fmla="*/ 0 h 1192655"/>
              <a:gd name="connsiteX1" fmla="*/ 6475492 w 6475492"/>
              <a:gd name="connsiteY1" fmla="*/ 0 h 1192655"/>
              <a:gd name="connsiteX2" fmla="*/ 6029699 w 6475492"/>
              <a:gd name="connsiteY2" fmla="*/ 1183638 h 1192655"/>
              <a:gd name="connsiteX3" fmla="*/ 0 w 6475492"/>
              <a:gd name="connsiteY3" fmla="*/ 1192655 h 1192655"/>
              <a:gd name="connsiteX4" fmla="*/ 0 w 6475492"/>
              <a:gd name="connsiteY4" fmla="*/ 0 h 1192655"/>
              <a:gd name="connsiteX0" fmla="*/ 0 w 6502924"/>
              <a:gd name="connsiteY0" fmla="*/ 0 h 1192655"/>
              <a:gd name="connsiteX1" fmla="*/ 6502924 w 6502924"/>
              <a:gd name="connsiteY1" fmla="*/ 0 h 1192655"/>
              <a:gd name="connsiteX2" fmla="*/ 6029699 w 6502924"/>
              <a:gd name="connsiteY2" fmla="*/ 1183638 h 1192655"/>
              <a:gd name="connsiteX3" fmla="*/ 0 w 6502924"/>
              <a:gd name="connsiteY3" fmla="*/ 1192655 h 1192655"/>
              <a:gd name="connsiteX4" fmla="*/ 0 w 6502924"/>
              <a:gd name="connsiteY4" fmla="*/ 0 h 1192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02924" h="1192655">
                <a:moveTo>
                  <a:pt x="0" y="0"/>
                </a:moveTo>
                <a:lnTo>
                  <a:pt x="6502924" y="0"/>
                </a:lnTo>
                <a:lnTo>
                  <a:pt x="6029699" y="1183638"/>
                </a:lnTo>
                <a:lnTo>
                  <a:pt x="0" y="11926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lIns="566928" tIns="0" rIns="0" bIns="0" anchor="ctr" anchorCtr="0">
            <a:noAutofit/>
          </a:bodyPr>
          <a:lstStyle>
            <a:lvl1pPr algn="l">
              <a:lnSpc>
                <a:spcPct val="100000"/>
              </a:lnSpc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1 Lin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</a:t>
            </a:r>
            <a:r>
              <a:rPr lang="en-US" kern="0">
                <a:cs typeface="Arial" charset="0"/>
              </a:rPr>
              <a:t>Euromonitor</a:t>
            </a:r>
            <a:r>
              <a:rPr lang="en-US">
                <a:cs typeface="Arial" charset="0"/>
              </a:rPr>
              <a:t> Internation</a:t>
            </a:r>
            <a:r>
              <a:rPr lang="en-US">
                <a:cs typeface="Tahoma" pitchFamily="34" charset="0"/>
              </a:rPr>
              <a:t>al</a:t>
            </a:r>
            <a:endParaRPr lang="en-US" dirty="0">
              <a:cs typeface="Tahom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noFill/>
        </p:spPr>
        <p:txBody>
          <a:bodyPr lIns="1828800" tIns="1828800" rIns="1828800" bIns="640080" anchor="ctr"/>
          <a:lstStyle>
            <a:lvl1pPr marL="0" indent="0" algn="ctr"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icon to insert an image, then right click image and “SEND TO BACK”</a:t>
            </a: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Overlay w Body - Lt G/S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6680048" cy="5143500"/>
          </a:xfrm>
          <a:custGeom>
            <a:avLst/>
            <a:gdLst>
              <a:gd name="connsiteX0" fmla="*/ 0 w 6680200"/>
              <a:gd name="connsiteY0" fmla="*/ 6858000 h 6858000"/>
              <a:gd name="connsiteX1" fmla="*/ 0 w 6680200"/>
              <a:gd name="connsiteY1" fmla="*/ 0 h 6858000"/>
              <a:gd name="connsiteX2" fmla="*/ 6680200 w 6680200"/>
              <a:gd name="connsiteY2" fmla="*/ 0 h 6858000"/>
              <a:gd name="connsiteX3" fmla="*/ 6680200 w 6680200"/>
              <a:gd name="connsiteY3" fmla="*/ 6858000 h 6858000"/>
              <a:gd name="connsiteX4" fmla="*/ 0 w 6680200"/>
              <a:gd name="connsiteY4" fmla="*/ 6858000 h 6858000"/>
              <a:gd name="connsiteX0" fmla="*/ 0 w 6680200"/>
              <a:gd name="connsiteY0" fmla="*/ 6858000 h 6858000"/>
              <a:gd name="connsiteX1" fmla="*/ 0 w 6680200"/>
              <a:gd name="connsiteY1" fmla="*/ 0 h 6858000"/>
              <a:gd name="connsiteX2" fmla="*/ 6680200 w 6680200"/>
              <a:gd name="connsiteY2" fmla="*/ 0 h 6858000"/>
              <a:gd name="connsiteX3" fmla="*/ 3396673 w 6680200"/>
              <a:gd name="connsiteY3" fmla="*/ 6858000 h 6858000"/>
              <a:gd name="connsiteX4" fmla="*/ 0 w 6680200"/>
              <a:gd name="connsiteY4" fmla="*/ 6858000 h 6858000"/>
              <a:gd name="connsiteX0" fmla="*/ 0 w 6680200"/>
              <a:gd name="connsiteY0" fmla="*/ 6858000 h 6858000"/>
              <a:gd name="connsiteX1" fmla="*/ 0 w 6680200"/>
              <a:gd name="connsiteY1" fmla="*/ 0 h 6858000"/>
              <a:gd name="connsiteX2" fmla="*/ 6680200 w 6680200"/>
              <a:gd name="connsiteY2" fmla="*/ 0 h 6858000"/>
              <a:gd name="connsiteX3" fmla="*/ 3863028 w 6680200"/>
              <a:gd name="connsiteY3" fmla="*/ 6858000 h 6858000"/>
              <a:gd name="connsiteX4" fmla="*/ 0 w 66802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80200" h="6858000">
                <a:moveTo>
                  <a:pt x="0" y="6858000"/>
                </a:moveTo>
                <a:lnTo>
                  <a:pt x="0" y="0"/>
                </a:lnTo>
                <a:lnTo>
                  <a:pt x="6680200" y="0"/>
                </a:lnTo>
                <a:lnTo>
                  <a:pt x="386302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  <a:alpha val="90000"/>
            </a:schemeClr>
          </a:solidFill>
        </p:spPr>
        <p:txBody>
          <a:bodyPr lIns="566928" tIns="1828800" rIns="2743200" bIns="822960"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noFill/>
        </p:spPr>
        <p:txBody>
          <a:bodyPr lIns="1828800" tIns="1828800" rIns="1828800" bIns="640080" anchor="ctr"/>
          <a:lstStyle>
            <a:lvl1pPr marL="0" indent="0" algn="ctr"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icon to insert an image, then right click image and “SEND TO BACK”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</a:t>
            </a:r>
            <a:r>
              <a:rPr lang="en-US" kern="0">
                <a:cs typeface="Arial" charset="0"/>
              </a:rPr>
              <a:t>Euromonitor</a:t>
            </a:r>
            <a:r>
              <a:rPr lang="en-US">
                <a:cs typeface="Arial" charset="0"/>
              </a:rPr>
              <a:t> Internation</a:t>
            </a:r>
            <a:r>
              <a:rPr lang="en-US">
                <a:cs typeface="Tahoma" pitchFamily="34" charset="0"/>
              </a:rPr>
              <a:t>al</a:t>
            </a:r>
            <a:endParaRPr lang="en-US" dirty="0">
              <a:cs typeface="Tahom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0" y="319517"/>
            <a:ext cx="6502924" cy="894492"/>
          </a:xfrm>
          <a:custGeom>
            <a:avLst/>
            <a:gdLst>
              <a:gd name="connsiteX0" fmla="*/ 0 w 6475492"/>
              <a:gd name="connsiteY0" fmla="*/ 0 h 1192655"/>
              <a:gd name="connsiteX1" fmla="*/ 6475492 w 6475492"/>
              <a:gd name="connsiteY1" fmla="*/ 0 h 1192655"/>
              <a:gd name="connsiteX2" fmla="*/ 6475492 w 6475492"/>
              <a:gd name="connsiteY2" fmla="*/ 1192655 h 1192655"/>
              <a:gd name="connsiteX3" fmla="*/ 0 w 6475492"/>
              <a:gd name="connsiteY3" fmla="*/ 1192655 h 1192655"/>
              <a:gd name="connsiteX4" fmla="*/ 0 w 6475492"/>
              <a:gd name="connsiteY4" fmla="*/ 0 h 1192655"/>
              <a:gd name="connsiteX0" fmla="*/ 0 w 6475492"/>
              <a:gd name="connsiteY0" fmla="*/ 0 h 1192655"/>
              <a:gd name="connsiteX1" fmla="*/ 6475492 w 6475492"/>
              <a:gd name="connsiteY1" fmla="*/ 0 h 1192655"/>
              <a:gd name="connsiteX2" fmla="*/ 5914383 w 6475492"/>
              <a:gd name="connsiteY2" fmla="*/ 1192655 h 1192655"/>
              <a:gd name="connsiteX3" fmla="*/ 0 w 6475492"/>
              <a:gd name="connsiteY3" fmla="*/ 1192655 h 1192655"/>
              <a:gd name="connsiteX4" fmla="*/ 0 w 6475492"/>
              <a:gd name="connsiteY4" fmla="*/ 0 h 1192655"/>
              <a:gd name="connsiteX0" fmla="*/ 0 w 6475492"/>
              <a:gd name="connsiteY0" fmla="*/ 0 h 1192655"/>
              <a:gd name="connsiteX1" fmla="*/ 6475492 w 6475492"/>
              <a:gd name="connsiteY1" fmla="*/ 0 h 1192655"/>
              <a:gd name="connsiteX2" fmla="*/ 5885808 w 6475492"/>
              <a:gd name="connsiteY2" fmla="*/ 1192655 h 1192655"/>
              <a:gd name="connsiteX3" fmla="*/ 0 w 6475492"/>
              <a:gd name="connsiteY3" fmla="*/ 1192655 h 1192655"/>
              <a:gd name="connsiteX4" fmla="*/ 0 w 6475492"/>
              <a:gd name="connsiteY4" fmla="*/ 0 h 1192655"/>
              <a:gd name="connsiteX0" fmla="*/ 0 w 6475492"/>
              <a:gd name="connsiteY0" fmla="*/ 0 h 1195830"/>
              <a:gd name="connsiteX1" fmla="*/ 6475492 w 6475492"/>
              <a:gd name="connsiteY1" fmla="*/ 0 h 1195830"/>
              <a:gd name="connsiteX2" fmla="*/ 5901683 w 6475492"/>
              <a:gd name="connsiteY2" fmla="*/ 1195830 h 1195830"/>
              <a:gd name="connsiteX3" fmla="*/ 0 w 6475492"/>
              <a:gd name="connsiteY3" fmla="*/ 1192655 h 1195830"/>
              <a:gd name="connsiteX4" fmla="*/ 0 w 6475492"/>
              <a:gd name="connsiteY4" fmla="*/ 0 h 1195830"/>
              <a:gd name="connsiteX0" fmla="*/ 0 w 6475492"/>
              <a:gd name="connsiteY0" fmla="*/ 0 h 1192655"/>
              <a:gd name="connsiteX1" fmla="*/ 6475492 w 6475492"/>
              <a:gd name="connsiteY1" fmla="*/ 0 h 1192655"/>
              <a:gd name="connsiteX2" fmla="*/ 6029699 w 6475492"/>
              <a:gd name="connsiteY2" fmla="*/ 1183638 h 1192655"/>
              <a:gd name="connsiteX3" fmla="*/ 0 w 6475492"/>
              <a:gd name="connsiteY3" fmla="*/ 1192655 h 1192655"/>
              <a:gd name="connsiteX4" fmla="*/ 0 w 6475492"/>
              <a:gd name="connsiteY4" fmla="*/ 0 h 1192655"/>
              <a:gd name="connsiteX0" fmla="*/ 0 w 6502924"/>
              <a:gd name="connsiteY0" fmla="*/ 0 h 1192655"/>
              <a:gd name="connsiteX1" fmla="*/ 6502924 w 6502924"/>
              <a:gd name="connsiteY1" fmla="*/ 0 h 1192655"/>
              <a:gd name="connsiteX2" fmla="*/ 6029699 w 6502924"/>
              <a:gd name="connsiteY2" fmla="*/ 1183638 h 1192655"/>
              <a:gd name="connsiteX3" fmla="*/ 0 w 6502924"/>
              <a:gd name="connsiteY3" fmla="*/ 1192655 h 1192655"/>
              <a:gd name="connsiteX4" fmla="*/ 0 w 6502924"/>
              <a:gd name="connsiteY4" fmla="*/ 0 h 1192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02924" h="1192655">
                <a:moveTo>
                  <a:pt x="0" y="0"/>
                </a:moveTo>
                <a:lnTo>
                  <a:pt x="6502924" y="0"/>
                </a:lnTo>
                <a:lnTo>
                  <a:pt x="6029699" y="1183638"/>
                </a:lnTo>
                <a:lnTo>
                  <a:pt x="0" y="11926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lIns="566928" tIns="0" rIns="0" bIns="0" anchor="ctr" anchorCtr="0">
            <a:noAutofit/>
          </a:bodyPr>
          <a:lstStyle>
            <a:lvl1pPr algn="l">
              <a:lnSpc>
                <a:spcPct val="100000"/>
              </a:lnSpc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1 Line</a:t>
            </a: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Col Sol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0" y="0"/>
            <a:ext cx="4572000" cy="5143500"/>
          </a:xfrm>
          <a:solidFill>
            <a:schemeClr val="accent2"/>
          </a:solidFill>
        </p:spPr>
        <p:txBody>
          <a:bodyPr lIns="182880" tIns="548640" rIns="182880" bIns="3383280" anchor="b"/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4572000" cy="5143500"/>
          </a:xfrm>
          <a:solidFill>
            <a:schemeClr val="accent1"/>
          </a:solidFill>
        </p:spPr>
        <p:txBody>
          <a:bodyPr lIns="182880" tIns="548640" rIns="182880" bIns="3383280" anchor="b" anchorCtr="0"/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1500" y="1878806"/>
            <a:ext cx="3438144" cy="1762506"/>
          </a:xfr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34356" y="1878806"/>
            <a:ext cx="3438144" cy="1762506"/>
          </a:xfr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>
                <a:cs typeface="Arial" charset="0"/>
              </a:rPr>
              <a:t>© </a:t>
            </a:r>
            <a:r>
              <a:rPr lang="en-US" dirty="0" err="1">
                <a:cs typeface="Arial" charset="0"/>
              </a:rPr>
              <a:t>Euromonitor</a:t>
            </a:r>
            <a:r>
              <a:rPr lang="en-US" dirty="0">
                <a:cs typeface="Arial" charset="0"/>
              </a:rPr>
              <a:t> Internationa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28043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Col Image Left - Berr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572000" cy="5143500"/>
          </a:xfrm>
          <a:solidFill>
            <a:schemeClr val="accent1">
              <a:alpha val="90000"/>
            </a:schemeClr>
          </a:solidFill>
        </p:spPr>
        <p:txBody>
          <a:bodyPr lIns="566928" tIns="182880" rIns="566928" bIns="2468880" anchor="b"/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None/>
              <a:defRPr>
                <a:latin typeface="+mj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572000" cy="5143500"/>
          </a:xfrm>
        </p:spPr>
        <p:txBody>
          <a:bodyPr lIns="548640" tIns="731520" rIns="548640" anchor="t"/>
          <a:lstStyle>
            <a:lvl1pPr marL="0" indent="0" algn="l">
              <a:buNone/>
              <a:defRPr sz="160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icon to insert an image, then right click image and “SEND TO BACK”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1500" y="2780919"/>
            <a:ext cx="3438144" cy="1762506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134354" y="2162985"/>
            <a:ext cx="3438146" cy="617934"/>
          </a:xfrm>
        </p:spPr>
        <p:txBody>
          <a:bodyPr lIns="0" tIns="0" rIns="0" bIns="0" anchor="b">
            <a:noAutofit/>
          </a:bodyPr>
          <a:lstStyle>
            <a:lvl1pPr marL="0" indent="0" algn="l">
              <a:buFont typeface="Arial" charset="0"/>
              <a:buNone/>
              <a:defRPr sz="16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34356" y="2780919"/>
            <a:ext cx="3438144" cy="1762506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3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Euromonitor Internationa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:1 Col Image Left - Berr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572000" y="0"/>
            <a:ext cx="4572000" cy="5143500"/>
          </a:xfrm>
          <a:solidFill>
            <a:schemeClr val="accent2">
              <a:alpha val="90000"/>
            </a:schemeClr>
          </a:solidFill>
        </p:spPr>
        <p:txBody>
          <a:bodyPr lIns="566928" tIns="182880" rIns="566928" bIns="2468880" anchor="b"/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None/>
              <a:defRPr>
                <a:latin typeface="+mj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4572000" y="0"/>
            <a:ext cx="4572000" cy="5143500"/>
          </a:xfrm>
        </p:spPr>
        <p:txBody>
          <a:bodyPr lIns="548640" tIns="731520" rIns="548640" anchor="t"/>
          <a:lstStyle>
            <a:lvl1pPr marL="0" indent="0" algn="ctr">
              <a:buNone/>
              <a:defRPr sz="1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insert an image, then right click image and “SEND TO BACK”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7394" y="2780919"/>
            <a:ext cx="3438144" cy="1762506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71500" y="2162985"/>
            <a:ext cx="3438146" cy="617934"/>
          </a:xfrm>
        </p:spPr>
        <p:txBody>
          <a:bodyPr lIns="0" tIns="0" rIns="0" bIns="0" anchor="b">
            <a:noAutofit/>
          </a:bodyPr>
          <a:lstStyle>
            <a:lvl1pPr marL="0" indent="0" algn="l">
              <a:buFont typeface="Arial" charset="0"/>
              <a:buNone/>
              <a:defRPr sz="16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71502" y="2780919"/>
            <a:ext cx="3438144" cy="1762506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3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Euromonitor Internationa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:1 Col Sol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2571750"/>
            <a:ext cx="4572000" cy="2571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4572000" cy="2571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1" y="388129"/>
            <a:ext cx="3438144" cy="617934"/>
          </a:xfrm>
        </p:spPr>
        <p:txBody>
          <a:bodyPr lIns="0" tIns="0" rIns="0" bIns="0" anchor="b">
            <a:noAutofit/>
          </a:bodyPr>
          <a:lstStyle>
            <a:lvl1pPr marL="0" indent="0" algn="l"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1500" y="1006063"/>
            <a:ext cx="3438144" cy="1117854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62354" y="2959879"/>
            <a:ext cx="3438146" cy="617934"/>
          </a:xfrm>
        </p:spPr>
        <p:txBody>
          <a:bodyPr lIns="0" tIns="0" rIns="0" bIns="0" anchor="b">
            <a:noAutofit/>
          </a:bodyPr>
          <a:lstStyle>
            <a:lvl1pPr marL="0" indent="0" algn="l"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2356" y="3577813"/>
            <a:ext cx="3438144" cy="1117854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Euromonitor Internationa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134354" y="2162985"/>
            <a:ext cx="3438146" cy="617934"/>
          </a:xfrm>
        </p:spPr>
        <p:txBody>
          <a:bodyPr lIns="0" tIns="0" rIns="0" bIns="0" anchor="b">
            <a:noAutofit/>
          </a:bodyPr>
          <a:lstStyle>
            <a:lvl1pPr marL="0" indent="0" algn="l">
              <a:buFont typeface="Arial" charset="0"/>
              <a:buNone/>
              <a:defRPr sz="16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4"/>
          </p:nvPr>
        </p:nvSpPr>
        <p:spPr>
          <a:xfrm>
            <a:off x="5134356" y="2780919"/>
            <a:ext cx="3438144" cy="1762506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3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:1 Col Soli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4572000" y="2571750"/>
            <a:ext cx="4572000" cy="2571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 userDrawn="1"/>
        </p:nvSpPr>
        <p:spPr>
          <a:xfrm>
            <a:off x="4572000" y="0"/>
            <a:ext cx="4572000" cy="2571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143501" y="397273"/>
            <a:ext cx="3438144" cy="617934"/>
          </a:xfrm>
        </p:spPr>
        <p:txBody>
          <a:bodyPr lIns="0" tIns="0" rIns="0" bIns="0" anchor="b">
            <a:noAutofit/>
          </a:bodyPr>
          <a:lstStyle>
            <a:lvl1pPr marL="0" indent="0" algn="l"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0" y="1015207"/>
            <a:ext cx="3438144" cy="1117854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134354" y="2969023"/>
            <a:ext cx="3438146" cy="617934"/>
          </a:xfrm>
        </p:spPr>
        <p:txBody>
          <a:bodyPr lIns="0" tIns="0" rIns="0" bIns="0" anchor="b">
            <a:noAutofit/>
          </a:bodyPr>
          <a:lstStyle>
            <a:lvl1pPr marL="0" indent="0" algn="l"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34356" y="3586957"/>
            <a:ext cx="3438144" cy="1117854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Euromonitor Internationa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2162985"/>
            <a:ext cx="3438146" cy="617934"/>
          </a:xfrm>
        </p:spPr>
        <p:txBody>
          <a:bodyPr lIns="0" tIns="0" rIns="0" bIns="0" anchor="b">
            <a:noAutofit/>
          </a:bodyPr>
          <a:lstStyle>
            <a:lvl1pPr marL="0" indent="0" algn="l">
              <a:buFont typeface="Arial" charset="0"/>
              <a:buNone/>
              <a:defRPr sz="16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14"/>
          </p:nvPr>
        </p:nvSpPr>
        <p:spPr>
          <a:xfrm>
            <a:off x="571502" y="2780919"/>
            <a:ext cx="3438144" cy="1762506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3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71500" y="942974"/>
            <a:ext cx="8001000" cy="3609975"/>
          </a:xfrm>
        </p:spPr>
        <p:txBody>
          <a:bodyPr>
            <a:noAutofit/>
          </a:bodyPr>
          <a:lstStyle>
            <a:lvl1pPr marL="136525" indent="-13652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marR="0" indent="-109728" algn="l" defTabSz="9144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Tx/>
              <a:buSzTx/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822960" indent="10795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>
                <a:tab pos="223838" algn="dec"/>
              </a:tabLst>
              <a:defRPr sz="1600"/>
            </a:lvl5pPr>
            <a:lvl6pPr marL="109538" indent="-10953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>
                <a:tab pos="223838" algn="l"/>
              </a:tabLst>
              <a:defRPr sz="1300"/>
            </a:lvl6pPr>
            <a:lvl7pPr marL="109538" marR="0" indent="-109538" algn="l" defTabSz="9144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Tx/>
              <a:buSzTx/>
              <a:buFont typeface="Wingdings" charset="2"/>
              <a:buChar char="§"/>
              <a:tabLst/>
              <a:defRPr sz="1300"/>
            </a:lvl7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:2 Sol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2571750"/>
            <a:ext cx="4572000" cy="2571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4572000" cy="2571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Rectangle 13"/>
          <p:cNvSpPr/>
          <p:nvPr userDrawn="1"/>
        </p:nvSpPr>
        <p:spPr>
          <a:xfrm>
            <a:off x="4572000" y="0"/>
            <a:ext cx="4572000" cy="2571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Rectangle 16"/>
          <p:cNvSpPr/>
          <p:nvPr userDrawn="1"/>
        </p:nvSpPr>
        <p:spPr>
          <a:xfrm>
            <a:off x="4572000" y="2571750"/>
            <a:ext cx="4572000" cy="2571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1" y="397273"/>
            <a:ext cx="3438144" cy="617934"/>
          </a:xfrm>
        </p:spPr>
        <p:txBody>
          <a:bodyPr lIns="0" tIns="0" rIns="0" bIns="0" anchor="b">
            <a:noAutofit/>
          </a:bodyPr>
          <a:lstStyle>
            <a:lvl1pPr marL="0" indent="0" algn="ctr"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1500" y="1015207"/>
            <a:ext cx="3438144" cy="1117854"/>
          </a:xfr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62354" y="2969023"/>
            <a:ext cx="3438146" cy="617934"/>
          </a:xfrm>
        </p:spPr>
        <p:txBody>
          <a:bodyPr lIns="0" tIns="0" rIns="0" bIns="0" anchor="b">
            <a:noAutofit/>
          </a:bodyPr>
          <a:lstStyle>
            <a:lvl1pPr marL="0" indent="0" algn="ctr"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2356" y="3586957"/>
            <a:ext cx="3438144" cy="1117854"/>
          </a:xfr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Euromonitor Internationa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134354" y="397273"/>
            <a:ext cx="3438146" cy="617934"/>
          </a:xfrm>
        </p:spPr>
        <p:txBody>
          <a:bodyPr lIns="0" tIns="0" rIns="0" bIns="0" anchor="b">
            <a:noAutofit/>
          </a:bodyPr>
          <a:lstStyle>
            <a:lvl1pPr marL="0" indent="0" algn="ctr"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14"/>
          </p:nvPr>
        </p:nvSpPr>
        <p:spPr>
          <a:xfrm>
            <a:off x="5134356" y="1015207"/>
            <a:ext cx="3438144" cy="1117854"/>
          </a:xfr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34354" y="2969023"/>
            <a:ext cx="3438146" cy="617934"/>
          </a:xfrm>
        </p:spPr>
        <p:txBody>
          <a:bodyPr lIns="0" tIns="0" rIns="0" bIns="0" anchor="b">
            <a:noAutofit/>
          </a:bodyPr>
          <a:lstStyle>
            <a:lvl1pPr marL="0" indent="0" algn="ctr"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9" name="Content Placeholder 5"/>
          <p:cNvSpPr>
            <a:spLocks noGrp="1"/>
          </p:cNvSpPr>
          <p:nvPr>
            <p:ph sz="quarter" idx="16"/>
          </p:nvPr>
        </p:nvSpPr>
        <p:spPr>
          <a:xfrm>
            <a:off x="5134356" y="3586957"/>
            <a:ext cx="3438144" cy="1117854"/>
          </a:xfr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Sol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952" y="0"/>
            <a:ext cx="3054096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3054096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Rectangle 11"/>
          <p:cNvSpPr/>
          <p:nvPr userDrawn="1"/>
        </p:nvSpPr>
        <p:spPr>
          <a:xfrm>
            <a:off x="6089904" y="0"/>
            <a:ext cx="3054096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92608" y="1260872"/>
            <a:ext cx="2468880" cy="617934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2608" y="1878806"/>
            <a:ext cx="2468880" cy="1762506"/>
          </a:xfr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3337560" y="1260872"/>
            <a:ext cx="2468880" cy="617934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337560" y="1878806"/>
            <a:ext cx="2468880" cy="1762506"/>
          </a:xfr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Euromonitor Internationa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382512" y="1260872"/>
            <a:ext cx="2468880" cy="617934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4"/>
          </p:nvPr>
        </p:nvSpPr>
        <p:spPr>
          <a:xfrm>
            <a:off x="6382512" y="1878806"/>
            <a:ext cx="2468880" cy="1762506"/>
          </a:xfr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 Sol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86000" y="0"/>
            <a:ext cx="2286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2286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Rectangle 11"/>
          <p:cNvSpPr/>
          <p:nvPr userDrawn="1"/>
        </p:nvSpPr>
        <p:spPr>
          <a:xfrm>
            <a:off x="4572000" y="0"/>
            <a:ext cx="2286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Rectangle 14"/>
          <p:cNvSpPr/>
          <p:nvPr userDrawn="1"/>
        </p:nvSpPr>
        <p:spPr>
          <a:xfrm>
            <a:off x="6858000" y="0"/>
            <a:ext cx="2286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82880" y="1260872"/>
            <a:ext cx="1920240" cy="617934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2880" y="1878806"/>
            <a:ext cx="1920240" cy="1762506"/>
          </a:xfr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2468880" y="1260872"/>
            <a:ext cx="1920240" cy="617934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468880" y="1878806"/>
            <a:ext cx="1920240" cy="1762506"/>
          </a:xfr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Euromonitor Internationa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754880" y="1260872"/>
            <a:ext cx="1920240" cy="617934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4"/>
          </p:nvPr>
        </p:nvSpPr>
        <p:spPr>
          <a:xfrm>
            <a:off x="4754880" y="1878806"/>
            <a:ext cx="1920240" cy="1762506"/>
          </a:xfr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7040880" y="1260872"/>
            <a:ext cx="1920240" cy="617934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6"/>
          </p:nvPr>
        </p:nvSpPr>
        <p:spPr>
          <a:xfrm>
            <a:off x="7040880" y="1878806"/>
            <a:ext cx="1920240" cy="1762506"/>
          </a:xfr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 Sol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828800" y="0"/>
            <a:ext cx="18288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18288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Rectangle 11"/>
          <p:cNvSpPr/>
          <p:nvPr userDrawn="1"/>
        </p:nvSpPr>
        <p:spPr>
          <a:xfrm>
            <a:off x="3657600" y="0"/>
            <a:ext cx="18288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Rectangle 14"/>
          <p:cNvSpPr/>
          <p:nvPr userDrawn="1"/>
        </p:nvSpPr>
        <p:spPr>
          <a:xfrm>
            <a:off x="5486400" y="0"/>
            <a:ext cx="18288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Rectangle 17"/>
          <p:cNvSpPr/>
          <p:nvPr userDrawn="1"/>
        </p:nvSpPr>
        <p:spPr>
          <a:xfrm>
            <a:off x="7315200" y="0"/>
            <a:ext cx="18288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4300" y="1260872"/>
            <a:ext cx="1600200" cy="617934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300" y="1878806"/>
            <a:ext cx="1600200" cy="1762506"/>
          </a:xfr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1943100" y="1260872"/>
            <a:ext cx="1600200" cy="617934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943100" y="1878806"/>
            <a:ext cx="1600200" cy="1762506"/>
          </a:xfr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Euromonitor Internationa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71900" y="1260872"/>
            <a:ext cx="1600200" cy="617934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4"/>
          </p:nvPr>
        </p:nvSpPr>
        <p:spPr>
          <a:xfrm>
            <a:off x="3771900" y="1878806"/>
            <a:ext cx="1600200" cy="1762506"/>
          </a:xfr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600700" y="1260872"/>
            <a:ext cx="1600200" cy="617934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6"/>
          </p:nvPr>
        </p:nvSpPr>
        <p:spPr>
          <a:xfrm>
            <a:off x="5600700" y="1878806"/>
            <a:ext cx="1600200" cy="1762506"/>
          </a:xfr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429500" y="1260872"/>
            <a:ext cx="1600200" cy="617934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20" name="Content Placeholder 5"/>
          <p:cNvSpPr>
            <a:spLocks noGrp="1"/>
          </p:cNvSpPr>
          <p:nvPr>
            <p:ph sz="quarter" idx="18"/>
          </p:nvPr>
        </p:nvSpPr>
        <p:spPr>
          <a:xfrm>
            <a:off x="7429500" y="1878806"/>
            <a:ext cx="1600200" cy="1762506"/>
          </a:xfr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ctettes, Picture, Info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6089904" y="0"/>
            <a:ext cx="3054096" cy="11590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6108192" cy="3457575"/>
          </a:xfrm>
        </p:spPr>
        <p:txBody>
          <a:bodyPr lIns="274320" tIns="274320" rIns="274320" bIns="274320" anchor="t"/>
          <a:lstStyle>
            <a:lvl1pPr marL="0" indent="0" algn="l">
              <a:buNone/>
              <a:defRPr sz="1600">
                <a:solidFill>
                  <a:schemeClr val="accent4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insert an image, then right click image and “SEND TO BACK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3657600"/>
            <a:ext cx="8001000" cy="281763"/>
          </a:xfrm>
        </p:spPr>
        <p:txBody>
          <a:bodyPr lIns="0" tIns="0" rIns="0" bIns="0" anchor="ctr"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1500" y="3939363"/>
            <a:ext cx="8001000" cy="86123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</a:t>
            </a:r>
            <a:r>
              <a:rPr lang="en-US" kern="0">
                <a:cs typeface="Arial" charset="0"/>
              </a:rPr>
              <a:t>Euromonitor</a:t>
            </a:r>
            <a:r>
              <a:rPr lang="en-US">
                <a:cs typeface="Arial" charset="0"/>
              </a:rPr>
              <a:t> Internation</a:t>
            </a:r>
            <a:r>
              <a:rPr lang="en-US">
                <a:cs typeface="Tahoma" pitchFamily="34" charset="0"/>
              </a:rPr>
              <a:t>al</a:t>
            </a:r>
            <a:endParaRPr lang="en-US" dirty="0">
              <a:cs typeface="Tahom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6089904" y="1144741"/>
            <a:ext cx="3054096" cy="1159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Rectangle 11"/>
          <p:cNvSpPr/>
          <p:nvPr userDrawn="1"/>
        </p:nvSpPr>
        <p:spPr>
          <a:xfrm>
            <a:off x="6089904" y="2298573"/>
            <a:ext cx="3054096" cy="115900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6195060" y="95739"/>
            <a:ext cx="2843784" cy="594061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buFont typeface="Arial" charset="0"/>
              <a:buNone/>
              <a:defRPr sz="60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5060" y="1250262"/>
            <a:ext cx="2843784" cy="594061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buFont typeface="Arial" charset="0"/>
              <a:buNone/>
              <a:defRPr sz="6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195060" y="2404027"/>
            <a:ext cx="2843784" cy="594061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buFont typeface="Arial" charset="0"/>
              <a:buNone/>
              <a:defRPr sz="6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6194425" y="689801"/>
            <a:ext cx="2844800" cy="373084"/>
          </a:xfrm>
        </p:spPr>
        <p:txBody>
          <a:bodyPr lIns="0" tIns="0" rIns="0" bIns="0"/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9144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13716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18288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9"/>
          </p:nvPr>
        </p:nvSpPr>
        <p:spPr>
          <a:xfrm>
            <a:off x="6194425" y="1844324"/>
            <a:ext cx="2844800" cy="369394"/>
          </a:xfrm>
        </p:spPr>
        <p:txBody>
          <a:bodyPr lIns="0" tIns="0" rIns="0" bIns="0"/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9144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13716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18288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20"/>
          </p:nvPr>
        </p:nvSpPr>
        <p:spPr>
          <a:xfrm>
            <a:off x="6194425" y="2998088"/>
            <a:ext cx="2844800" cy="374041"/>
          </a:xfrm>
        </p:spPr>
        <p:txBody>
          <a:bodyPr lIns="0" tIns="0" rIns="0" bIns="0"/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9144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13716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18288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298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304" userDrawn="1">
          <p15:clr>
            <a:srgbClr val="5ACBF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ctettes, 2 Col - Slate, Info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6089904" y="0"/>
            <a:ext cx="3054096" cy="11590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3044952" cy="3457575"/>
          </a:xfrm>
        </p:spPr>
        <p:txBody>
          <a:bodyPr lIns="274320" tIns="274320" rIns="274320" bIns="274320" anchor="t"/>
          <a:lstStyle>
            <a:lvl1pPr marL="0" indent="0" algn="l">
              <a:buNone/>
              <a:defRPr sz="1600">
                <a:solidFill>
                  <a:schemeClr val="accent4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insert an image, then right click image and “SEND TO BACK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3657600"/>
            <a:ext cx="8001000" cy="281763"/>
          </a:xfrm>
        </p:spPr>
        <p:txBody>
          <a:bodyPr lIns="0" tIns="0" rIns="0" bIns="0" anchor="ctr"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1500" y="3939363"/>
            <a:ext cx="8001000" cy="86123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</a:t>
            </a:r>
            <a:r>
              <a:rPr lang="en-US" kern="0">
                <a:cs typeface="Arial" charset="0"/>
              </a:rPr>
              <a:t>Euromonitor</a:t>
            </a:r>
            <a:r>
              <a:rPr lang="en-US">
                <a:cs typeface="Arial" charset="0"/>
              </a:rPr>
              <a:t> Internation</a:t>
            </a:r>
            <a:r>
              <a:rPr lang="en-US">
                <a:cs typeface="Tahoma" pitchFamily="34" charset="0"/>
              </a:rPr>
              <a:t>al</a:t>
            </a:r>
            <a:endParaRPr lang="en-US" dirty="0">
              <a:cs typeface="Tahom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6089904" y="1159002"/>
            <a:ext cx="3054096" cy="115900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Rectangle 11"/>
          <p:cNvSpPr/>
          <p:nvPr userDrawn="1"/>
        </p:nvSpPr>
        <p:spPr>
          <a:xfrm>
            <a:off x="6089904" y="2298573"/>
            <a:ext cx="3054096" cy="115900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6195060" y="95740"/>
            <a:ext cx="2843784" cy="589516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buFont typeface="Arial" charset="0"/>
              <a:buNone/>
              <a:defRPr sz="60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5060" y="1250263"/>
            <a:ext cx="2843784" cy="589516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buFont typeface="Arial" charset="0"/>
              <a:buNone/>
              <a:defRPr sz="6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195060" y="2404028"/>
            <a:ext cx="2843784" cy="589516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buFont typeface="Arial" charset="0"/>
              <a:buNone/>
              <a:defRPr sz="6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6194425" y="685256"/>
            <a:ext cx="2844800" cy="376448"/>
          </a:xfrm>
        </p:spPr>
        <p:txBody>
          <a:bodyPr lIns="0" tIns="0" rIns="0" bIns="0"/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9144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13716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18288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9"/>
          </p:nvPr>
        </p:nvSpPr>
        <p:spPr>
          <a:xfrm>
            <a:off x="6194425" y="1840234"/>
            <a:ext cx="2844800" cy="376448"/>
          </a:xfrm>
        </p:spPr>
        <p:txBody>
          <a:bodyPr lIns="0" tIns="0" rIns="0" bIns="0"/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9144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13716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18288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20"/>
          </p:nvPr>
        </p:nvSpPr>
        <p:spPr>
          <a:xfrm>
            <a:off x="6194425" y="2997578"/>
            <a:ext cx="2844800" cy="376448"/>
          </a:xfrm>
        </p:spPr>
        <p:txBody>
          <a:bodyPr lIns="0" tIns="0" rIns="0" bIns="0"/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9144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13716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18288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-1" y="2318004"/>
            <a:ext cx="3054096" cy="761238"/>
          </a:xfrm>
          <a:solidFill>
            <a:schemeClr val="accent5">
              <a:alpha val="90000"/>
            </a:schemeClr>
          </a:solidFill>
        </p:spPr>
        <p:txBody>
          <a:bodyPr tIns="91440" bIns="91440"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44952" y="0"/>
            <a:ext cx="3044952" cy="34575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2"/>
          </p:nvPr>
        </p:nvSpPr>
        <p:spPr>
          <a:xfrm>
            <a:off x="3337560" y="699516"/>
            <a:ext cx="2468880" cy="617220"/>
          </a:xfrm>
        </p:spPr>
        <p:txBody>
          <a:bodyPr lIns="0" tIns="0" rIns="0" bIns="0" anchor="b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3" hasCustomPrompt="1"/>
          </p:nvPr>
        </p:nvSpPr>
        <p:spPr>
          <a:xfrm>
            <a:off x="3337560" y="1316736"/>
            <a:ext cx="2468880" cy="1762506"/>
          </a:xfrm>
        </p:spPr>
        <p:txBody>
          <a:bodyPr lIns="0" tIns="0" rIns="0" bIns="0"/>
          <a:lstStyle>
            <a:lvl1pPr marL="0" indent="0" algn="ctr">
              <a:buNone/>
              <a:defRPr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image or chart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304" userDrawn="1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ctettes, 2 Col - Grey, Info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6089904" y="0"/>
            <a:ext cx="3054096" cy="1159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 userDrawn="1"/>
        </p:nvSpPr>
        <p:spPr>
          <a:xfrm>
            <a:off x="6089904" y="1144741"/>
            <a:ext cx="3054096" cy="115900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Rectangle 11"/>
          <p:cNvSpPr/>
          <p:nvPr userDrawn="1"/>
        </p:nvSpPr>
        <p:spPr>
          <a:xfrm>
            <a:off x="6089904" y="2298573"/>
            <a:ext cx="3054096" cy="115900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6194425" y="699516"/>
            <a:ext cx="2844800" cy="362950"/>
          </a:xfrm>
        </p:spPr>
        <p:txBody>
          <a:bodyPr lIns="0" tIns="0" rIns="0" bIns="0"/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9144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13716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18288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9"/>
          </p:nvPr>
        </p:nvSpPr>
        <p:spPr>
          <a:xfrm>
            <a:off x="6194425" y="1851660"/>
            <a:ext cx="2844800" cy="362950"/>
          </a:xfrm>
        </p:spPr>
        <p:txBody>
          <a:bodyPr lIns="0" tIns="0" rIns="0" bIns="0"/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9144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13716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18288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3044952" cy="3457575"/>
          </a:xfrm>
        </p:spPr>
        <p:txBody>
          <a:bodyPr lIns="274320" tIns="274320" rIns="274320" bIns="274320" anchor="t"/>
          <a:lstStyle>
            <a:lvl1pPr marL="0" indent="0" algn="l">
              <a:buNone/>
              <a:defRPr sz="1600">
                <a:solidFill>
                  <a:schemeClr val="accent4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insert an image, then right click image and “SEND TO BACK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3657600"/>
            <a:ext cx="8001000" cy="281763"/>
          </a:xfrm>
        </p:spPr>
        <p:txBody>
          <a:bodyPr lIns="0" tIns="0" rIns="0" bIns="0" anchor="ctr"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1500" y="3939363"/>
            <a:ext cx="8001000" cy="86123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</a:t>
            </a:r>
            <a:r>
              <a:rPr lang="en-US" kern="0">
                <a:cs typeface="Arial" charset="0"/>
              </a:rPr>
              <a:t>Euromonitor</a:t>
            </a:r>
            <a:r>
              <a:rPr lang="en-US">
                <a:cs typeface="Arial" charset="0"/>
              </a:rPr>
              <a:t> Internation</a:t>
            </a:r>
            <a:r>
              <a:rPr lang="en-US">
                <a:cs typeface="Tahoma" pitchFamily="34" charset="0"/>
              </a:rPr>
              <a:t>al</a:t>
            </a:r>
            <a:endParaRPr lang="en-US" dirty="0">
              <a:cs typeface="Tahom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6195060" y="95740"/>
            <a:ext cx="2843784" cy="606634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buFont typeface="Arial" charset="0"/>
              <a:buNone/>
              <a:defRPr sz="60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5060" y="1250263"/>
            <a:ext cx="2843784" cy="606634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buFont typeface="Arial" charset="0"/>
              <a:buNone/>
              <a:defRPr sz="6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195060" y="2404028"/>
            <a:ext cx="2843784" cy="606634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buFont typeface="Arial" charset="0"/>
              <a:buNone/>
              <a:defRPr sz="6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20"/>
          </p:nvPr>
        </p:nvSpPr>
        <p:spPr>
          <a:xfrm>
            <a:off x="6194425" y="3010662"/>
            <a:ext cx="2844800" cy="362950"/>
          </a:xfrm>
        </p:spPr>
        <p:txBody>
          <a:bodyPr lIns="0" tIns="0" rIns="0" bIns="0"/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9144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13716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1828800" indent="0">
              <a:lnSpc>
                <a:spcPts val="16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-1" y="2318004"/>
            <a:ext cx="3054096" cy="761238"/>
          </a:xfrm>
          <a:solidFill>
            <a:schemeClr val="accent1">
              <a:alpha val="90000"/>
            </a:schemeClr>
          </a:solidFill>
        </p:spPr>
        <p:txBody>
          <a:bodyPr tIns="91440" bIns="91440"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44952" y="0"/>
            <a:ext cx="3044952" cy="34575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2"/>
          </p:nvPr>
        </p:nvSpPr>
        <p:spPr>
          <a:xfrm>
            <a:off x="3337560" y="699516"/>
            <a:ext cx="2468880" cy="617220"/>
          </a:xfrm>
        </p:spPr>
        <p:txBody>
          <a:bodyPr lIns="0" tIns="0" rIns="0" bIns="0" anchor="b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3" hasCustomPrompt="1"/>
          </p:nvPr>
        </p:nvSpPr>
        <p:spPr>
          <a:xfrm>
            <a:off x="3337560" y="1316736"/>
            <a:ext cx="2468880" cy="1762506"/>
          </a:xfrm>
        </p:spPr>
        <p:txBody>
          <a:bodyPr lIns="0" tIns="0" rIns="0" bIns="0"/>
          <a:lstStyle>
            <a:lvl1pPr marL="0" marR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US" dirty="0"/>
              <a:t>Click to add image or chart</a:t>
            </a:r>
          </a:p>
          <a:p>
            <a:pPr lvl="0"/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304" userDrawn="1">
          <p15:clr>
            <a:srgbClr val="5ACBF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Picture, Info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3044825" y="0"/>
            <a:ext cx="3054096" cy="3457575"/>
          </a:xfrm>
        </p:spPr>
        <p:txBody>
          <a:bodyPr lIns="274320" tIns="274320" rIns="274320" bIns="274320" anchor="t"/>
          <a:lstStyle>
            <a:lvl1pPr marL="0" indent="0" algn="l">
              <a:buNone/>
              <a:defRPr sz="1600">
                <a:solidFill>
                  <a:schemeClr val="accent4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insert an image, then right click image and “SEND TO BACK”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3054096" cy="3457575"/>
          </a:xfrm>
        </p:spPr>
        <p:txBody>
          <a:bodyPr lIns="274320" tIns="274320" rIns="274320" bIns="274320" anchor="t"/>
          <a:lstStyle>
            <a:lvl1pPr marL="0" indent="0" algn="l">
              <a:buNone/>
              <a:defRPr sz="1600">
                <a:solidFill>
                  <a:schemeClr val="accent4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insert an image, then right click image and “SEND TO BACK”</a:t>
            </a:r>
          </a:p>
        </p:txBody>
      </p:sp>
      <p:sp>
        <p:nvSpPr>
          <p:cNvPr id="22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6089650" y="0"/>
            <a:ext cx="3054096" cy="3457575"/>
          </a:xfrm>
        </p:spPr>
        <p:txBody>
          <a:bodyPr lIns="274320" tIns="274320" rIns="274320" bIns="274320" anchor="t"/>
          <a:lstStyle>
            <a:lvl1pPr marL="0" indent="0" algn="l">
              <a:buNone/>
              <a:defRPr sz="1600">
                <a:solidFill>
                  <a:schemeClr val="accent4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insert an image, then right click image and “SEND TO BACK”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044825" y="2318004"/>
            <a:ext cx="3054350" cy="761238"/>
          </a:xfrm>
          <a:solidFill>
            <a:schemeClr val="accent1">
              <a:alpha val="90000"/>
            </a:schemeClr>
          </a:solidFill>
        </p:spPr>
        <p:txBody>
          <a:bodyPr tIns="91440" bIns="91440"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3657600"/>
            <a:ext cx="8001000" cy="281763"/>
          </a:xfrm>
        </p:spPr>
        <p:txBody>
          <a:bodyPr lIns="0" tIns="0" rIns="0" bIns="0" anchor="ctr"/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1500" y="3939363"/>
            <a:ext cx="8001000" cy="86123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</a:t>
            </a:r>
            <a:r>
              <a:rPr lang="en-US" kern="0">
                <a:cs typeface="Arial" charset="0"/>
              </a:rPr>
              <a:t>Euromonitor</a:t>
            </a:r>
            <a:r>
              <a:rPr lang="en-US">
                <a:cs typeface="Arial" charset="0"/>
              </a:rPr>
              <a:t> Internation</a:t>
            </a:r>
            <a:r>
              <a:rPr lang="en-US">
                <a:cs typeface="Tahoma" pitchFamily="34" charset="0"/>
              </a:rPr>
              <a:t>al</a:t>
            </a:r>
            <a:endParaRPr lang="en-US" dirty="0">
              <a:cs typeface="Tahom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0" y="2318004"/>
            <a:ext cx="3054350" cy="761238"/>
          </a:xfrm>
          <a:solidFill>
            <a:schemeClr val="accent5">
              <a:alpha val="90000"/>
            </a:schemeClr>
          </a:solidFill>
        </p:spPr>
        <p:txBody>
          <a:bodyPr tIns="91440" bIns="91440"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6089650" y="2318004"/>
            <a:ext cx="3054350" cy="761238"/>
          </a:xfrm>
          <a:solidFill>
            <a:schemeClr val="accent2">
              <a:alpha val="90000"/>
            </a:schemeClr>
          </a:solidFill>
        </p:spPr>
        <p:txBody>
          <a:bodyPr tIns="91440" bIns="91440"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304" userDrawn="1">
          <p15:clr>
            <a:srgbClr val="5ACBF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Quotes, Info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4572000" cy="17282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3657600"/>
            <a:ext cx="8001000" cy="281763"/>
          </a:xfrm>
        </p:spPr>
        <p:txBody>
          <a:bodyPr lIns="0" tIns="0" rIns="0" bIns="0" anchor="ctr"/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1500" y="3939363"/>
            <a:ext cx="8001000" cy="86123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</a:t>
            </a:r>
            <a:r>
              <a:rPr lang="en-US" kern="0">
                <a:cs typeface="Arial" charset="0"/>
              </a:rPr>
              <a:t>Euromonitor</a:t>
            </a:r>
            <a:r>
              <a:rPr lang="en-US">
                <a:cs typeface="Arial" charset="0"/>
              </a:rPr>
              <a:t> Internation</a:t>
            </a:r>
            <a:r>
              <a:rPr lang="en-US">
                <a:cs typeface="Tahoma" pitchFamily="34" charset="0"/>
              </a:rPr>
              <a:t>al</a:t>
            </a:r>
            <a:endParaRPr lang="en-US" dirty="0">
              <a:cs typeface="Tahoma" pitchFamily="34" charset="0"/>
            </a:endParaRPr>
          </a:p>
        </p:txBody>
      </p:sp>
      <p:sp>
        <p:nvSpPr>
          <p:cNvPr id="14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132588" y="120015"/>
            <a:ext cx="4306824" cy="1145286"/>
          </a:xfrm>
        </p:spPr>
        <p:txBody>
          <a:bodyPr lIns="0" tIns="0" rIns="91440" bIns="91440" anchor="t">
            <a:noAutofit/>
          </a:bodyPr>
          <a:lstStyle>
            <a:lvl1pPr marL="91440" indent="-91440" algn="l">
              <a:lnSpc>
                <a:spcPts val="2300"/>
              </a:lnSpc>
              <a:spcBef>
                <a:spcPts val="0"/>
              </a:spcBef>
              <a:buNone/>
              <a:defRPr sz="21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“Click to edit Master text styles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132588" y="1265635"/>
            <a:ext cx="3657600" cy="345281"/>
          </a:xfrm>
        </p:spPr>
        <p:txBody>
          <a:bodyPr lIns="0" tIns="27432" rIns="0" bIns="0"/>
          <a:lstStyle>
            <a:lvl1pPr marL="0" indent="0" algn="r">
              <a:lnSpc>
                <a:spcPts val="1500"/>
              </a:lnSpc>
              <a:spcBef>
                <a:spcPts val="0"/>
              </a:spcBef>
              <a:buNone/>
              <a:defRPr sz="1400" i="1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—Author, 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0" cy="1728216"/>
          </a:xfrm>
        </p:spPr>
        <p:txBody>
          <a:bodyPr lIns="365760" tIns="365760" rIns="365760" bIns="365760"/>
          <a:lstStyle>
            <a:lvl1pPr marL="0" indent="0">
              <a:buNone/>
              <a:defRPr sz="160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icon to insert an image, then right click image and “SEND TO BACK”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4572000" y="1723453"/>
            <a:ext cx="4572000" cy="172821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 userDrawn="1"/>
        </p:nvSpPr>
        <p:spPr>
          <a:xfrm>
            <a:off x="0" y="1723453"/>
            <a:ext cx="4572000" cy="17282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132588" y="1843468"/>
            <a:ext cx="4306824" cy="1145286"/>
          </a:xfrm>
        </p:spPr>
        <p:txBody>
          <a:bodyPr lIns="0" tIns="0" rIns="91440" bIns="91440" anchor="t">
            <a:noAutofit/>
          </a:bodyPr>
          <a:lstStyle>
            <a:lvl1pPr marL="91440" indent="-91440" algn="l">
              <a:lnSpc>
                <a:spcPts val="2300"/>
              </a:lnSpc>
              <a:spcBef>
                <a:spcPts val="0"/>
              </a:spcBef>
              <a:buNone/>
              <a:defRPr sz="21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“Click to edit Master text styles</a:t>
            </a:r>
          </a:p>
        </p:txBody>
      </p:sp>
      <p:sp>
        <p:nvSpPr>
          <p:cNvPr id="20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4706112" y="1843468"/>
            <a:ext cx="4306824" cy="1145286"/>
          </a:xfrm>
        </p:spPr>
        <p:txBody>
          <a:bodyPr lIns="0" tIns="0" rIns="91440" bIns="91440" anchor="t">
            <a:noAutofit/>
          </a:bodyPr>
          <a:lstStyle>
            <a:lvl1pPr marL="91440" indent="-91440" algn="l">
              <a:lnSpc>
                <a:spcPts val="2300"/>
              </a:lnSpc>
              <a:spcBef>
                <a:spcPts val="0"/>
              </a:spcBef>
              <a:buNone/>
              <a:defRPr sz="21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“Click to edit Master text styles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132588" y="2988754"/>
            <a:ext cx="3657600" cy="345281"/>
          </a:xfrm>
        </p:spPr>
        <p:txBody>
          <a:bodyPr lIns="0" tIns="27432" rIns="0" bIns="0"/>
          <a:lstStyle>
            <a:lvl1pPr marL="0" indent="0" algn="r">
              <a:lnSpc>
                <a:spcPts val="1500"/>
              </a:lnSpc>
              <a:spcBef>
                <a:spcPts val="0"/>
              </a:spcBef>
              <a:buNone/>
              <a:defRPr sz="1400" i="1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—Author, Click to edit Master text styles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9" hasCustomPrompt="1"/>
          </p:nvPr>
        </p:nvSpPr>
        <p:spPr>
          <a:xfrm>
            <a:off x="4706112" y="2988754"/>
            <a:ext cx="3657600" cy="345281"/>
          </a:xfrm>
        </p:spPr>
        <p:txBody>
          <a:bodyPr lIns="0" tIns="27432" rIns="0" bIns="0"/>
          <a:lstStyle>
            <a:lvl1pPr marL="0" indent="0" algn="r">
              <a:lnSpc>
                <a:spcPts val="1500"/>
              </a:lnSpc>
              <a:spcBef>
                <a:spcPts val="0"/>
              </a:spcBef>
              <a:buNone/>
              <a:defRPr sz="1400" i="1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—Author, Click to edit Master text styles</a:t>
            </a:r>
          </a:p>
        </p:txBody>
      </p:sp>
      <p:grpSp>
        <p:nvGrpSpPr>
          <p:cNvPr id="33" name="Group 32"/>
          <p:cNvGrpSpPr>
            <a:grpSpLocks noChangeAspect="1"/>
          </p:cNvGrpSpPr>
          <p:nvPr userDrawn="1"/>
        </p:nvGrpSpPr>
        <p:grpSpPr>
          <a:xfrm>
            <a:off x="3948881" y="1360483"/>
            <a:ext cx="405885" cy="267374"/>
            <a:chOff x="7514215" y="3985644"/>
            <a:chExt cx="1052760" cy="693498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4" name="Rectangular Callout 13"/>
            <p:cNvSpPr/>
            <p:nvPr/>
          </p:nvSpPr>
          <p:spPr>
            <a:xfrm flipH="1">
              <a:off x="751421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" name="Rectangular Callout 13"/>
            <p:cNvSpPr/>
            <p:nvPr/>
          </p:nvSpPr>
          <p:spPr>
            <a:xfrm flipH="1">
              <a:off x="810476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6" name="Group 35"/>
          <p:cNvGrpSpPr>
            <a:grpSpLocks noChangeAspect="1"/>
          </p:cNvGrpSpPr>
          <p:nvPr userDrawn="1"/>
        </p:nvGrpSpPr>
        <p:grpSpPr>
          <a:xfrm>
            <a:off x="3948881" y="3081318"/>
            <a:ext cx="405885" cy="267374"/>
            <a:chOff x="7514215" y="3985644"/>
            <a:chExt cx="1052760" cy="693498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37" name="Rectangular Callout 13"/>
            <p:cNvSpPr/>
            <p:nvPr/>
          </p:nvSpPr>
          <p:spPr>
            <a:xfrm flipH="1">
              <a:off x="751421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8" name="Rectangular Callout 13"/>
            <p:cNvSpPr/>
            <p:nvPr/>
          </p:nvSpPr>
          <p:spPr>
            <a:xfrm flipH="1">
              <a:off x="810476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2" name="Group 41"/>
          <p:cNvGrpSpPr>
            <a:grpSpLocks noChangeAspect="1"/>
          </p:cNvGrpSpPr>
          <p:nvPr userDrawn="1"/>
        </p:nvGrpSpPr>
        <p:grpSpPr>
          <a:xfrm>
            <a:off x="8539218" y="3081318"/>
            <a:ext cx="405885" cy="267374"/>
            <a:chOff x="7514215" y="3985644"/>
            <a:chExt cx="1052760" cy="693498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43" name="Rectangular Callout 13"/>
            <p:cNvSpPr/>
            <p:nvPr/>
          </p:nvSpPr>
          <p:spPr>
            <a:xfrm flipH="1">
              <a:off x="751421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4" name="Rectangular Callout 13"/>
            <p:cNvSpPr/>
            <p:nvPr/>
          </p:nvSpPr>
          <p:spPr>
            <a:xfrm flipH="1">
              <a:off x="810476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304" userDrawn="1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Quotes, Info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6099048" y="0"/>
            <a:ext cx="3044952" cy="1159002"/>
          </a:xfrm>
        </p:spPr>
        <p:txBody>
          <a:bodyPr lIns="182880" tIns="182880" rIns="182880" bIns="182880" anchor="t" anchorCtr="0"/>
          <a:lstStyle>
            <a:lvl1pPr marL="0" indent="0">
              <a:buNone/>
              <a:defRPr sz="160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icon to insert an image, then right click image and “SEND TO BACK”</a:t>
            </a:r>
          </a:p>
        </p:txBody>
      </p:sp>
      <p:sp>
        <p:nvSpPr>
          <p:cNvPr id="43" name="Rectangle 42"/>
          <p:cNvSpPr/>
          <p:nvPr userDrawn="1"/>
        </p:nvSpPr>
        <p:spPr>
          <a:xfrm>
            <a:off x="3044952" y="2308851"/>
            <a:ext cx="3054096" cy="1159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7" name="Content Placeholder 5"/>
          <p:cNvSpPr>
            <a:spLocks noGrp="1"/>
          </p:cNvSpPr>
          <p:nvPr>
            <p:ph sz="quarter" idx="19" hasCustomPrompt="1"/>
          </p:nvPr>
        </p:nvSpPr>
        <p:spPr>
          <a:xfrm>
            <a:off x="3208564" y="2430336"/>
            <a:ext cx="2743200" cy="891540"/>
          </a:xfrm>
        </p:spPr>
        <p:txBody>
          <a:bodyPr lIns="0" tIns="0" rIns="0" bIns="0" anchor="t">
            <a:noAutofit/>
          </a:bodyPr>
          <a:lstStyle>
            <a:lvl1pPr marL="91440" indent="-9144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“Click to edit Master text styles</a:t>
            </a:r>
          </a:p>
        </p:txBody>
      </p:sp>
      <p:sp>
        <p:nvSpPr>
          <p:cNvPr id="53" name="Rectangle 52"/>
          <p:cNvSpPr/>
          <p:nvPr userDrawn="1"/>
        </p:nvSpPr>
        <p:spPr>
          <a:xfrm>
            <a:off x="6099048" y="2308851"/>
            <a:ext cx="3044952" cy="1159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Rectangle 18"/>
          <p:cNvSpPr/>
          <p:nvPr userDrawn="1"/>
        </p:nvSpPr>
        <p:spPr>
          <a:xfrm>
            <a:off x="0" y="2308851"/>
            <a:ext cx="3044952" cy="115900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3" name="Rectangle 32"/>
          <p:cNvSpPr/>
          <p:nvPr userDrawn="1"/>
        </p:nvSpPr>
        <p:spPr>
          <a:xfrm>
            <a:off x="3044952" y="0"/>
            <a:ext cx="3054096" cy="115900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3044952" cy="11590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8" name="Rectangle 37"/>
          <p:cNvSpPr/>
          <p:nvPr userDrawn="1"/>
        </p:nvSpPr>
        <p:spPr>
          <a:xfrm>
            <a:off x="3044952" y="1152702"/>
            <a:ext cx="3054096" cy="115900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 userDrawn="1"/>
        </p:nvSpPr>
        <p:spPr>
          <a:xfrm>
            <a:off x="0" y="1152702"/>
            <a:ext cx="3044952" cy="1159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8" name="Rectangle 47"/>
          <p:cNvSpPr/>
          <p:nvPr userDrawn="1"/>
        </p:nvSpPr>
        <p:spPr>
          <a:xfrm>
            <a:off x="6099048" y="1152702"/>
            <a:ext cx="3044952" cy="115900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2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208564" y="1274187"/>
            <a:ext cx="2743200" cy="891540"/>
          </a:xfrm>
        </p:spPr>
        <p:txBody>
          <a:bodyPr lIns="0" tIns="0" rIns="0" bIns="0" anchor="t">
            <a:noAutofit/>
          </a:bodyPr>
          <a:lstStyle>
            <a:lvl1pPr marL="91440" indent="-9144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“Click to edit Master text styles</a:t>
            </a:r>
          </a:p>
        </p:txBody>
      </p:sp>
      <p:sp>
        <p:nvSpPr>
          <p:cNvPr id="52" name="Content Placeholder 5"/>
          <p:cNvSpPr>
            <a:spLocks noGrp="1"/>
          </p:cNvSpPr>
          <p:nvPr>
            <p:ph sz="quarter" idx="20" hasCustomPrompt="1"/>
          </p:nvPr>
        </p:nvSpPr>
        <p:spPr>
          <a:xfrm>
            <a:off x="6258088" y="1274187"/>
            <a:ext cx="2743200" cy="891540"/>
          </a:xfrm>
        </p:spPr>
        <p:txBody>
          <a:bodyPr lIns="0" tIns="0" rIns="0" bIns="0" anchor="t">
            <a:noAutofit/>
          </a:bodyPr>
          <a:lstStyle>
            <a:lvl1pPr marL="91440" indent="-9144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“Click to edit Master text styles</a:t>
            </a:r>
          </a:p>
        </p:txBody>
      </p:sp>
      <p:sp>
        <p:nvSpPr>
          <p:cNvPr id="57" name="Content Placeholder 5"/>
          <p:cNvSpPr>
            <a:spLocks noGrp="1"/>
          </p:cNvSpPr>
          <p:nvPr>
            <p:ph sz="quarter" idx="21" hasCustomPrompt="1"/>
          </p:nvPr>
        </p:nvSpPr>
        <p:spPr>
          <a:xfrm>
            <a:off x="6258088" y="2430336"/>
            <a:ext cx="2743200" cy="891540"/>
          </a:xfrm>
        </p:spPr>
        <p:txBody>
          <a:bodyPr lIns="0" tIns="0" rIns="0" bIns="0" anchor="t">
            <a:noAutofit/>
          </a:bodyPr>
          <a:lstStyle>
            <a:lvl1pPr marL="91440" indent="-9144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“Click to edit Master text styles</a:t>
            </a:r>
          </a:p>
        </p:txBody>
      </p:sp>
      <p:sp>
        <p:nvSpPr>
          <p:cNvPr id="37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3208564" y="121485"/>
            <a:ext cx="2743200" cy="891540"/>
          </a:xfrm>
        </p:spPr>
        <p:txBody>
          <a:bodyPr lIns="0" tIns="0" rIns="0" bIns="0" anchor="t">
            <a:noAutofit/>
          </a:bodyPr>
          <a:lstStyle>
            <a:lvl1pPr marL="91440" indent="-9144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“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159040" y="121485"/>
            <a:ext cx="2743200" cy="891540"/>
          </a:xfrm>
        </p:spPr>
        <p:txBody>
          <a:bodyPr lIns="0" tIns="0" rIns="0" bIns="0" anchor="t">
            <a:noAutofit/>
          </a:bodyPr>
          <a:lstStyle>
            <a:lvl1pPr marL="91440" indent="-9144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“Click to edit Master text styles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159040" y="1274187"/>
            <a:ext cx="2743200" cy="891540"/>
          </a:xfrm>
        </p:spPr>
        <p:txBody>
          <a:bodyPr lIns="0" tIns="0" rIns="0" bIns="0" anchor="t">
            <a:noAutofit/>
          </a:bodyPr>
          <a:lstStyle>
            <a:lvl1pPr marL="91440" indent="-9144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“Click to edit Master text styles</a:t>
            </a:r>
          </a:p>
        </p:txBody>
      </p:sp>
      <p:sp>
        <p:nvSpPr>
          <p:cNvPr id="20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159040" y="2430336"/>
            <a:ext cx="2743200" cy="891540"/>
          </a:xfrm>
        </p:spPr>
        <p:txBody>
          <a:bodyPr lIns="0" tIns="0" rIns="0" bIns="0" anchor="t">
            <a:noAutofit/>
          </a:bodyPr>
          <a:lstStyle>
            <a:lvl1pPr marL="91440" indent="-9144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“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3657600"/>
            <a:ext cx="8001000" cy="281763"/>
          </a:xfrm>
        </p:spPr>
        <p:txBody>
          <a:bodyPr lIns="0" tIns="0" rIns="0" bIns="0" anchor="ctr"/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1500" y="3939363"/>
            <a:ext cx="8001000" cy="669853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8" name="Text Placeholder 20"/>
          <p:cNvSpPr>
            <a:spLocks noGrp="1"/>
          </p:cNvSpPr>
          <p:nvPr>
            <p:ph type="body" sz="quarter" idx="22" hasCustomPrompt="1"/>
          </p:nvPr>
        </p:nvSpPr>
        <p:spPr>
          <a:xfrm>
            <a:off x="571500" y="4609215"/>
            <a:ext cx="8001000" cy="191385"/>
          </a:xfrm>
        </p:spPr>
        <p:txBody>
          <a:bodyPr lIns="0" tIns="27432" rIns="0" bIns="0"/>
          <a:lstStyle>
            <a:lvl1pPr marL="0" indent="0" algn="r">
              <a:lnSpc>
                <a:spcPts val="1500"/>
              </a:lnSpc>
              <a:spcBef>
                <a:spcPts val="0"/>
              </a:spcBef>
              <a:buNone/>
              <a:defRPr sz="1400" i="1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—Quote Attribution, 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</a:t>
            </a:r>
            <a:r>
              <a:rPr lang="en-US" kern="0">
                <a:cs typeface="Arial" charset="0"/>
              </a:rPr>
              <a:t>Euromonitor</a:t>
            </a:r>
            <a:r>
              <a:rPr lang="en-US">
                <a:cs typeface="Arial" charset="0"/>
              </a:rPr>
              <a:t> Internation</a:t>
            </a:r>
            <a:r>
              <a:rPr lang="en-US">
                <a:cs typeface="Tahoma" pitchFamily="34" charset="0"/>
              </a:rPr>
              <a:t>al</a:t>
            </a:r>
            <a:endParaRPr lang="en-US" dirty="0">
              <a:cs typeface="Tahom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9" name="Group 58"/>
          <p:cNvGrpSpPr>
            <a:grpSpLocks noChangeAspect="1"/>
          </p:cNvGrpSpPr>
          <p:nvPr userDrawn="1"/>
        </p:nvGrpSpPr>
        <p:grpSpPr>
          <a:xfrm>
            <a:off x="2719001" y="917203"/>
            <a:ext cx="250295" cy="164880"/>
            <a:chOff x="7514215" y="3985644"/>
            <a:chExt cx="1052760" cy="693498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60" name="Rectangular Callout 13"/>
            <p:cNvSpPr/>
            <p:nvPr/>
          </p:nvSpPr>
          <p:spPr>
            <a:xfrm flipH="1">
              <a:off x="751421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Rectangular Callout 13"/>
            <p:cNvSpPr/>
            <p:nvPr/>
          </p:nvSpPr>
          <p:spPr>
            <a:xfrm flipH="1">
              <a:off x="810476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62" name="Group 61"/>
          <p:cNvGrpSpPr>
            <a:grpSpLocks noChangeAspect="1"/>
          </p:cNvGrpSpPr>
          <p:nvPr userDrawn="1"/>
        </p:nvGrpSpPr>
        <p:grpSpPr>
          <a:xfrm>
            <a:off x="5773097" y="917203"/>
            <a:ext cx="250295" cy="164880"/>
            <a:chOff x="7514215" y="3985644"/>
            <a:chExt cx="1052760" cy="693498"/>
          </a:xfrm>
          <a:solidFill>
            <a:srgbClr val="91D2E7"/>
          </a:solidFill>
        </p:grpSpPr>
        <p:sp>
          <p:nvSpPr>
            <p:cNvPr id="63" name="Rectangular Callout 13"/>
            <p:cNvSpPr/>
            <p:nvPr/>
          </p:nvSpPr>
          <p:spPr>
            <a:xfrm flipH="1">
              <a:off x="751421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Rectangular Callout 13"/>
            <p:cNvSpPr/>
            <p:nvPr/>
          </p:nvSpPr>
          <p:spPr>
            <a:xfrm flipH="1">
              <a:off x="810476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65" name="Group 64"/>
          <p:cNvGrpSpPr>
            <a:grpSpLocks noChangeAspect="1"/>
          </p:cNvGrpSpPr>
          <p:nvPr userDrawn="1"/>
        </p:nvGrpSpPr>
        <p:grpSpPr>
          <a:xfrm>
            <a:off x="2719001" y="3207740"/>
            <a:ext cx="250295" cy="164880"/>
            <a:chOff x="7514215" y="3985644"/>
            <a:chExt cx="1052760" cy="693498"/>
          </a:xfrm>
          <a:solidFill>
            <a:schemeClr val="accent3">
              <a:lumMod val="60000"/>
              <a:lumOff val="40000"/>
              <a:alpha val="85000"/>
            </a:schemeClr>
          </a:solidFill>
        </p:grpSpPr>
        <p:sp>
          <p:nvSpPr>
            <p:cNvPr id="66" name="Rectangular Callout 13"/>
            <p:cNvSpPr/>
            <p:nvPr/>
          </p:nvSpPr>
          <p:spPr>
            <a:xfrm flipH="1">
              <a:off x="751421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7" name="Rectangular Callout 13"/>
            <p:cNvSpPr/>
            <p:nvPr/>
          </p:nvSpPr>
          <p:spPr>
            <a:xfrm flipH="1">
              <a:off x="810476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68" name="Group 67"/>
          <p:cNvGrpSpPr>
            <a:grpSpLocks noChangeAspect="1"/>
          </p:cNvGrpSpPr>
          <p:nvPr userDrawn="1"/>
        </p:nvGrpSpPr>
        <p:grpSpPr>
          <a:xfrm>
            <a:off x="5773097" y="3207740"/>
            <a:ext cx="250295" cy="164880"/>
            <a:chOff x="7514215" y="3985644"/>
            <a:chExt cx="1052760" cy="693498"/>
          </a:xfrm>
          <a:solidFill>
            <a:schemeClr val="accent2">
              <a:lumMod val="60000"/>
              <a:lumOff val="40000"/>
              <a:alpha val="85000"/>
            </a:schemeClr>
          </a:solidFill>
        </p:grpSpPr>
        <p:sp>
          <p:nvSpPr>
            <p:cNvPr id="69" name="Rectangular Callout 13"/>
            <p:cNvSpPr/>
            <p:nvPr/>
          </p:nvSpPr>
          <p:spPr>
            <a:xfrm flipH="1">
              <a:off x="751421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" name="Rectangular Callout 13"/>
            <p:cNvSpPr/>
            <p:nvPr/>
          </p:nvSpPr>
          <p:spPr>
            <a:xfrm flipH="1">
              <a:off x="810476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71" name="Group 70"/>
          <p:cNvGrpSpPr>
            <a:grpSpLocks noChangeAspect="1"/>
          </p:cNvGrpSpPr>
          <p:nvPr userDrawn="1"/>
        </p:nvGrpSpPr>
        <p:grpSpPr>
          <a:xfrm>
            <a:off x="8808905" y="3207740"/>
            <a:ext cx="250295" cy="164880"/>
            <a:chOff x="7514215" y="3985644"/>
            <a:chExt cx="1052760" cy="693498"/>
          </a:xfrm>
          <a:solidFill>
            <a:schemeClr val="accent1">
              <a:lumMod val="60000"/>
              <a:lumOff val="40000"/>
              <a:alpha val="85000"/>
            </a:schemeClr>
          </a:solidFill>
        </p:grpSpPr>
        <p:sp>
          <p:nvSpPr>
            <p:cNvPr id="72" name="Rectangular Callout 13"/>
            <p:cNvSpPr/>
            <p:nvPr/>
          </p:nvSpPr>
          <p:spPr>
            <a:xfrm flipH="1">
              <a:off x="751421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3" name="Rectangular Callout 13"/>
            <p:cNvSpPr/>
            <p:nvPr/>
          </p:nvSpPr>
          <p:spPr>
            <a:xfrm flipH="1">
              <a:off x="810476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74" name="Group 73"/>
          <p:cNvGrpSpPr>
            <a:grpSpLocks noChangeAspect="1"/>
          </p:cNvGrpSpPr>
          <p:nvPr userDrawn="1"/>
        </p:nvGrpSpPr>
        <p:grpSpPr>
          <a:xfrm>
            <a:off x="2719001" y="2062472"/>
            <a:ext cx="250295" cy="164880"/>
            <a:chOff x="7514215" y="3985644"/>
            <a:chExt cx="1052760" cy="693498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75" name="Rectangular Callout 13"/>
            <p:cNvSpPr/>
            <p:nvPr/>
          </p:nvSpPr>
          <p:spPr>
            <a:xfrm flipH="1">
              <a:off x="751421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6" name="Rectangular Callout 13"/>
            <p:cNvSpPr/>
            <p:nvPr/>
          </p:nvSpPr>
          <p:spPr>
            <a:xfrm flipH="1">
              <a:off x="810476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77" name="Group 76"/>
          <p:cNvGrpSpPr>
            <a:grpSpLocks noChangeAspect="1"/>
          </p:cNvGrpSpPr>
          <p:nvPr userDrawn="1"/>
        </p:nvGrpSpPr>
        <p:grpSpPr>
          <a:xfrm>
            <a:off x="5773097" y="2066299"/>
            <a:ext cx="250295" cy="164880"/>
            <a:chOff x="7514215" y="3985644"/>
            <a:chExt cx="1052760" cy="693498"/>
          </a:xfrm>
          <a:solidFill>
            <a:schemeClr val="accent3">
              <a:lumMod val="60000"/>
              <a:lumOff val="40000"/>
              <a:alpha val="85000"/>
            </a:schemeClr>
          </a:solidFill>
        </p:grpSpPr>
        <p:sp>
          <p:nvSpPr>
            <p:cNvPr id="78" name="Rectangular Callout 13"/>
            <p:cNvSpPr/>
            <p:nvPr/>
          </p:nvSpPr>
          <p:spPr>
            <a:xfrm flipH="1">
              <a:off x="751421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9" name="Rectangular Callout 13"/>
            <p:cNvSpPr/>
            <p:nvPr/>
          </p:nvSpPr>
          <p:spPr>
            <a:xfrm flipH="1">
              <a:off x="810476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0" name="Group 79"/>
          <p:cNvGrpSpPr>
            <a:grpSpLocks noChangeAspect="1"/>
          </p:cNvGrpSpPr>
          <p:nvPr userDrawn="1"/>
        </p:nvGrpSpPr>
        <p:grpSpPr>
          <a:xfrm>
            <a:off x="8808905" y="2060982"/>
            <a:ext cx="250295" cy="164880"/>
            <a:chOff x="7514215" y="3985644"/>
            <a:chExt cx="1052760" cy="693498"/>
          </a:xfrm>
          <a:solidFill>
            <a:srgbClr val="91D2E7">
              <a:alpha val="85000"/>
            </a:srgbClr>
          </a:solidFill>
        </p:grpSpPr>
        <p:sp>
          <p:nvSpPr>
            <p:cNvPr id="81" name="Rectangular Callout 13"/>
            <p:cNvSpPr/>
            <p:nvPr/>
          </p:nvSpPr>
          <p:spPr>
            <a:xfrm flipH="1">
              <a:off x="751421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2" name="Rectangular Callout 13"/>
            <p:cNvSpPr/>
            <p:nvPr/>
          </p:nvSpPr>
          <p:spPr>
            <a:xfrm flipH="1">
              <a:off x="810476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304" userDrawn="1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>
            <a:lvl1pPr>
              <a:lnSpc>
                <a:spcPts val="23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571500" y="1327022"/>
            <a:ext cx="8001000" cy="3225927"/>
          </a:xfrm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822960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Insert Chart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942975"/>
            <a:ext cx="80010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Up, Info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3657600"/>
            <a:ext cx="8001000" cy="281763"/>
          </a:xfrm>
        </p:spPr>
        <p:txBody>
          <a:bodyPr lIns="0" tIns="0" rIns="0" bIns="0" anchor="ctr"/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1500" y="3939363"/>
            <a:ext cx="8001000" cy="669853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8" name="Text Placeholder 20"/>
          <p:cNvSpPr>
            <a:spLocks noGrp="1"/>
          </p:cNvSpPr>
          <p:nvPr>
            <p:ph type="body" sz="quarter" idx="22" hasCustomPrompt="1"/>
          </p:nvPr>
        </p:nvSpPr>
        <p:spPr>
          <a:xfrm>
            <a:off x="571500" y="4609215"/>
            <a:ext cx="8001000" cy="191385"/>
          </a:xfrm>
        </p:spPr>
        <p:txBody>
          <a:bodyPr lIns="0" tIns="27432" rIns="0" bIns="0"/>
          <a:lstStyle>
            <a:lvl1pPr marL="0" indent="0" algn="r">
              <a:lnSpc>
                <a:spcPts val="1500"/>
              </a:lnSpc>
              <a:spcBef>
                <a:spcPts val="0"/>
              </a:spcBef>
              <a:buNone/>
              <a:defRPr sz="1400" i="1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—Quote Attribution, 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</a:t>
            </a:r>
            <a:r>
              <a:rPr lang="en-US" kern="0">
                <a:cs typeface="Arial" charset="0"/>
              </a:rPr>
              <a:t>Euromonitor</a:t>
            </a:r>
            <a:r>
              <a:rPr lang="en-US">
                <a:cs typeface="Arial" charset="0"/>
              </a:rPr>
              <a:t> Internation</a:t>
            </a:r>
            <a:r>
              <a:rPr lang="en-US">
                <a:cs typeface="Tahoma" pitchFamily="34" charset="0"/>
              </a:rPr>
              <a:t>al</a:t>
            </a:r>
            <a:endParaRPr lang="en-US" dirty="0">
              <a:cs typeface="Tahom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2" name="Content Placeholder 5"/>
          <p:cNvSpPr>
            <a:spLocks noGrp="1"/>
          </p:cNvSpPr>
          <p:nvPr>
            <p:ph sz="quarter" idx="24" hasCustomPrompt="1"/>
          </p:nvPr>
        </p:nvSpPr>
        <p:spPr>
          <a:xfrm>
            <a:off x="0" y="2315709"/>
            <a:ext cx="3044952" cy="1159002"/>
          </a:xfrm>
          <a:solidFill>
            <a:schemeClr val="accent3"/>
          </a:solidFill>
        </p:spPr>
        <p:txBody>
          <a:bodyPr lIns="155448" tIns="155448" rIns="155448" bIns="155448" anchor="t">
            <a:noAutofit/>
          </a:bodyPr>
          <a:lstStyle>
            <a:lvl1pPr marL="91440" indent="-9144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“Click to edit Master text styles</a:t>
            </a:r>
          </a:p>
        </p:txBody>
      </p:sp>
      <p:sp>
        <p:nvSpPr>
          <p:cNvPr id="65" name="Content Placeholder 5"/>
          <p:cNvSpPr>
            <a:spLocks noGrp="1"/>
          </p:cNvSpPr>
          <p:nvPr>
            <p:ph sz="quarter" idx="27" hasCustomPrompt="1"/>
          </p:nvPr>
        </p:nvSpPr>
        <p:spPr>
          <a:xfrm>
            <a:off x="0" y="0"/>
            <a:ext cx="3044952" cy="1159002"/>
          </a:xfrm>
          <a:solidFill>
            <a:schemeClr val="accent1"/>
          </a:solidFill>
        </p:spPr>
        <p:txBody>
          <a:bodyPr lIns="155448" tIns="155448" rIns="155448" bIns="155448" anchor="t">
            <a:noAutofit/>
          </a:bodyPr>
          <a:lstStyle>
            <a:lvl1pPr marL="91440" indent="-9144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“Click to edit Master text styles</a:t>
            </a:r>
          </a:p>
        </p:txBody>
      </p:sp>
      <p:sp>
        <p:nvSpPr>
          <p:cNvPr id="66" name="Content Placeholder 5"/>
          <p:cNvSpPr>
            <a:spLocks noGrp="1"/>
          </p:cNvSpPr>
          <p:nvPr>
            <p:ph sz="quarter" idx="28" hasCustomPrompt="1"/>
          </p:nvPr>
        </p:nvSpPr>
        <p:spPr>
          <a:xfrm>
            <a:off x="0" y="1157855"/>
            <a:ext cx="3044952" cy="1159002"/>
          </a:xfrm>
          <a:solidFill>
            <a:schemeClr val="accent2"/>
          </a:solidFill>
        </p:spPr>
        <p:txBody>
          <a:bodyPr lIns="155448" tIns="155448" rIns="155448" bIns="155448" anchor="t">
            <a:noAutofit/>
          </a:bodyPr>
          <a:lstStyle>
            <a:lvl1pPr marL="91440" indent="-9144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“Click to edit Master text styles</a:t>
            </a:r>
          </a:p>
        </p:txBody>
      </p:sp>
      <p:sp>
        <p:nvSpPr>
          <p:cNvPr id="67" name="Content Placeholder 5"/>
          <p:cNvSpPr>
            <a:spLocks noGrp="1"/>
          </p:cNvSpPr>
          <p:nvPr>
            <p:ph sz="quarter" idx="29" hasCustomPrompt="1"/>
          </p:nvPr>
        </p:nvSpPr>
        <p:spPr>
          <a:xfrm>
            <a:off x="3049524" y="2315709"/>
            <a:ext cx="3054096" cy="1159002"/>
          </a:xfrm>
          <a:solidFill>
            <a:schemeClr val="accent2"/>
          </a:solidFill>
        </p:spPr>
        <p:txBody>
          <a:bodyPr lIns="155448" tIns="155448" rIns="155448" bIns="155448" anchor="t">
            <a:noAutofit/>
          </a:bodyPr>
          <a:lstStyle>
            <a:lvl1pPr marL="91440" indent="-9144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“Click to edit Master text styles</a:t>
            </a:r>
          </a:p>
        </p:txBody>
      </p:sp>
      <p:sp>
        <p:nvSpPr>
          <p:cNvPr id="68" name="Content Placeholder 5"/>
          <p:cNvSpPr>
            <a:spLocks noGrp="1"/>
          </p:cNvSpPr>
          <p:nvPr>
            <p:ph sz="quarter" idx="30" hasCustomPrompt="1"/>
          </p:nvPr>
        </p:nvSpPr>
        <p:spPr>
          <a:xfrm>
            <a:off x="3049524" y="0"/>
            <a:ext cx="3054096" cy="1159002"/>
          </a:xfrm>
          <a:solidFill>
            <a:schemeClr val="accent5"/>
          </a:solidFill>
        </p:spPr>
        <p:txBody>
          <a:bodyPr lIns="155448" tIns="155448" rIns="155448" bIns="155448" anchor="t">
            <a:noAutofit/>
          </a:bodyPr>
          <a:lstStyle>
            <a:lvl1pPr marL="91440" indent="-9144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“Click to edit Master text styles</a:t>
            </a:r>
          </a:p>
        </p:txBody>
      </p:sp>
      <p:sp>
        <p:nvSpPr>
          <p:cNvPr id="69" name="Content Placeholder 5"/>
          <p:cNvSpPr>
            <a:spLocks noGrp="1"/>
          </p:cNvSpPr>
          <p:nvPr>
            <p:ph sz="quarter" idx="31" hasCustomPrompt="1"/>
          </p:nvPr>
        </p:nvSpPr>
        <p:spPr>
          <a:xfrm>
            <a:off x="3049524" y="1157855"/>
            <a:ext cx="3054096" cy="1159002"/>
          </a:xfrm>
          <a:solidFill>
            <a:schemeClr val="accent3"/>
          </a:solidFill>
        </p:spPr>
        <p:txBody>
          <a:bodyPr lIns="155448" tIns="155448" rIns="155448" bIns="155448" anchor="t">
            <a:noAutofit/>
          </a:bodyPr>
          <a:lstStyle>
            <a:lvl1pPr marL="91440" indent="-9144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“Click to edit Master text styles</a:t>
            </a:r>
          </a:p>
        </p:txBody>
      </p:sp>
      <p:sp>
        <p:nvSpPr>
          <p:cNvPr id="70" name="Content Placeholder 5"/>
          <p:cNvSpPr>
            <a:spLocks noGrp="1"/>
          </p:cNvSpPr>
          <p:nvPr>
            <p:ph sz="quarter" idx="32" hasCustomPrompt="1"/>
          </p:nvPr>
        </p:nvSpPr>
        <p:spPr>
          <a:xfrm>
            <a:off x="6099048" y="2315709"/>
            <a:ext cx="3044952" cy="1159002"/>
          </a:xfrm>
          <a:solidFill>
            <a:schemeClr val="accent1"/>
          </a:solidFill>
        </p:spPr>
        <p:txBody>
          <a:bodyPr lIns="155448" tIns="155448" rIns="155448" bIns="155448" anchor="t">
            <a:noAutofit/>
          </a:bodyPr>
          <a:lstStyle>
            <a:lvl1pPr marL="91440" indent="-9144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“Click to edit Master text styles</a:t>
            </a:r>
          </a:p>
        </p:txBody>
      </p:sp>
      <p:sp>
        <p:nvSpPr>
          <p:cNvPr id="71" name="Content Placeholder 5"/>
          <p:cNvSpPr>
            <a:spLocks noGrp="1"/>
          </p:cNvSpPr>
          <p:nvPr>
            <p:ph sz="quarter" idx="33" hasCustomPrompt="1"/>
          </p:nvPr>
        </p:nvSpPr>
        <p:spPr>
          <a:xfrm>
            <a:off x="6099048" y="0"/>
            <a:ext cx="3044952" cy="1159002"/>
          </a:xfrm>
          <a:solidFill>
            <a:schemeClr val="accent3"/>
          </a:solidFill>
        </p:spPr>
        <p:txBody>
          <a:bodyPr lIns="155448" tIns="155448" rIns="155448" bIns="155448" anchor="t">
            <a:noAutofit/>
          </a:bodyPr>
          <a:lstStyle>
            <a:lvl1pPr marL="91440" indent="-9144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“Click to edit Master text styles</a:t>
            </a:r>
          </a:p>
        </p:txBody>
      </p:sp>
      <p:sp>
        <p:nvSpPr>
          <p:cNvPr id="72" name="Content Placeholder 5"/>
          <p:cNvSpPr>
            <a:spLocks noGrp="1"/>
          </p:cNvSpPr>
          <p:nvPr>
            <p:ph sz="quarter" idx="34" hasCustomPrompt="1"/>
          </p:nvPr>
        </p:nvSpPr>
        <p:spPr>
          <a:xfrm>
            <a:off x="6099048" y="1157855"/>
            <a:ext cx="3044952" cy="1159002"/>
          </a:xfrm>
          <a:solidFill>
            <a:schemeClr val="accent5"/>
          </a:solidFill>
        </p:spPr>
        <p:txBody>
          <a:bodyPr lIns="155448" tIns="155448" rIns="155448" bIns="155448" anchor="t">
            <a:noAutofit/>
          </a:bodyPr>
          <a:lstStyle>
            <a:lvl1pPr marL="91440" indent="-9144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“Click to edit Master text styles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304" userDrawn="1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71500" y="942974"/>
            <a:ext cx="3886200" cy="3609975"/>
          </a:xfrm>
        </p:spPr>
        <p:txBody>
          <a:bodyPr>
            <a:noAutofit/>
          </a:bodyPr>
          <a:lstStyle>
            <a:lvl1pPr marL="136525" indent="-13652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822960" indent="-10795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6"/>
          </p:nvPr>
        </p:nvSpPr>
        <p:spPr>
          <a:xfrm>
            <a:off x="4686300" y="942974"/>
            <a:ext cx="3886200" cy="3609975"/>
          </a:xfrm>
        </p:spPr>
        <p:txBody>
          <a:bodyPr>
            <a:noAutofit/>
          </a:bodyPr>
          <a:lstStyle>
            <a:lvl1pPr marL="136525" indent="-13652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822960" indent="-10795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71500" y="1327022"/>
            <a:ext cx="3886200" cy="322592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942975"/>
            <a:ext cx="38862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4686300" y="1327022"/>
            <a:ext cx="3886200" cy="322592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686300" y="942975"/>
            <a:ext cx="38862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0" y="346577"/>
            <a:ext cx="7315200" cy="29489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500" y="940886"/>
            <a:ext cx="8001000" cy="36120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1500" y="4852364"/>
            <a:ext cx="2476500" cy="188743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 dirty="0" err="1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 dirty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 dirty="0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72500" y="314325"/>
            <a:ext cx="347056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1" name="Parallelogram 10"/>
          <p:cNvSpPr/>
          <p:nvPr userDrawn="1"/>
        </p:nvSpPr>
        <p:spPr>
          <a:xfrm>
            <a:off x="0" y="203362"/>
            <a:ext cx="585215" cy="282829"/>
          </a:xfrm>
          <a:prstGeom prst="parallelogram">
            <a:avLst>
              <a:gd name="adj" fmla="val 59371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9E183FBE-0803-4722-8ACF-4EC0E56C9874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24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947" r:id="rId2"/>
    <p:sldLayoutId id="2147483946" r:id="rId3"/>
    <p:sldLayoutId id="2147483945" r:id="rId4"/>
    <p:sldLayoutId id="2147483674" r:id="rId5"/>
    <p:sldLayoutId id="2147483675" r:id="rId6"/>
    <p:sldLayoutId id="2147483683" r:id="rId7"/>
    <p:sldLayoutId id="2147483681" r:id="rId8"/>
    <p:sldLayoutId id="2147483684" r:id="rId9"/>
    <p:sldLayoutId id="2147483715" r:id="rId10"/>
    <p:sldLayoutId id="2147483725" r:id="rId11"/>
    <p:sldLayoutId id="2147483749" r:id="rId12"/>
    <p:sldLayoutId id="2147483751" r:id="rId13"/>
    <p:sldLayoutId id="2147483752" r:id="rId14"/>
    <p:sldLayoutId id="2147483753" r:id="rId15"/>
    <p:sldLayoutId id="2147483721" r:id="rId16"/>
    <p:sldLayoutId id="2147483949" r:id="rId17"/>
    <p:sldLayoutId id="2147483726" r:id="rId18"/>
    <p:sldLayoutId id="2147483727" r:id="rId19"/>
    <p:sldLayoutId id="2147483755" r:id="rId20"/>
    <p:sldLayoutId id="2147483708" r:id="rId21"/>
    <p:sldLayoutId id="2147483932" r:id="rId22"/>
    <p:sldLayoutId id="2147483746" r:id="rId23"/>
    <p:sldLayoutId id="2147483936" r:id="rId24"/>
    <p:sldLayoutId id="2147483933" r:id="rId25"/>
    <p:sldLayoutId id="2147483756" r:id="rId26"/>
    <p:sldLayoutId id="2147483723" r:id="rId27"/>
    <p:sldLayoutId id="2147483724" r:id="rId28"/>
    <p:sldLayoutId id="2147483766" r:id="rId29"/>
    <p:sldLayoutId id="2147483767" r:id="rId30"/>
    <p:sldLayoutId id="2147483950" r:id="rId31"/>
    <p:sldLayoutId id="2147483771" r:id="rId32"/>
    <p:sldLayoutId id="2147483952" r:id="rId33"/>
    <p:sldLayoutId id="2147483951" r:id="rId34"/>
    <p:sldLayoutId id="2147483770" r:id="rId35"/>
    <p:sldLayoutId id="2147483769" r:id="rId36"/>
    <p:sldLayoutId id="2147483768" r:id="rId37"/>
    <p:sldLayoutId id="2147483953" r:id="rId38"/>
    <p:sldLayoutId id="2147483720" r:id="rId39"/>
    <p:sldLayoutId id="2147483774" r:id="rId40"/>
    <p:sldLayoutId id="2147483748" r:id="rId41"/>
    <p:sldLayoutId id="2147483942" r:id="rId42"/>
    <p:sldLayoutId id="2147483943" r:id="rId43"/>
    <p:sldLayoutId id="2147483934" r:id="rId44"/>
    <p:sldLayoutId id="2147483997" r:id="rId45"/>
  </p:sldLayoutIdLst>
  <p:hf hd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buNone/>
        <a:defRPr sz="21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09728" indent="-109728" algn="l" defTabSz="914400" rtl="0" eaLnBrk="1" fontAlgn="auto" latinLnBrk="0" hangingPunct="1">
        <a:lnSpc>
          <a:spcPct val="100000"/>
        </a:lnSpc>
        <a:spcBef>
          <a:spcPts val="150"/>
        </a:spcBef>
        <a:spcAft>
          <a:spcPts val="150"/>
        </a:spcAft>
        <a:buClr>
          <a:schemeClr val="tx1"/>
        </a:buClr>
        <a:buFont typeface="Wingdings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74320" indent="-109728" algn="l" defTabSz="914400" rtl="0" eaLnBrk="1" latinLnBrk="0" hangingPunct="1">
        <a:lnSpc>
          <a:spcPct val="100000"/>
        </a:lnSpc>
        <a:spcBef>
          <a:spcPts val="150"/>
        </a:spcBef>
        <a:spcAft>
          <a:spcPts val="150"/>
        </a:spcAft>
        <a:buFont typeface="Wingdings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109728" algn="l" defTabSz="914400" rtl="0" eaLnBrk="1" latinLnBrk="0" hangingPunct="1">
        <a:lnSpc>
          <a:spcPct val="100000"/>
        </a:lnSpc>
        <a:spcBef>
          <a:spcPts val="150"/>
        </a:spcBef>
        <a:spcAft>
          <a:spcPts val="150"/>
        </a:spcAft>
        <a:buFont typeface="Wingdings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0080" indent="-109728" algn="l" defTabSz="914400" rtl="0" eaLnBrk="1" latinLnBrk="0" hangingPunct="1">
        <a:lnSpc>
          <a:spcPct val="100000"/>
        </a:lnSpc>
        <a:spcBef>
          <a:spcPts val="150"/>
        </a:spcBef>
        <a:spcAft>
          <a:spcPts val="150"/>
        </a:spcAft>
        <a:buFont typeface="Wingdings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22960" indent="-109728" algn="l" defTabSz="914400" rtl="0" eaLnBrk="1" latinLnBrk="0" hangingPunct="1">
        <a:lnSpc>
          <a:spcPct val="100000"/>
        </a:lnSpc>
        <a:spcBef>
          <a:spcPts val="150"/>
        </a:spcBef>
        <a:spcAft>
          <a:spcPts val="150"/>
        </a:spcAft>
        <a:buFont typeface="Wingdings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0" userDrawn="1">
          <p15:clr>
            <a:srgbClr val="A4A3A4"/>
          </p15:clr>
        </p15:guide>
        <p15:guide id="2" pos="5400" userDrawn="1">
          <p15:clr>
            <a:srgbClr val="A4A3A4"/>
          </p15:clr>
        </p15:guide>
        <p15:guide id="3" pos="3840" userDrawn="1">
          <p15:clr>
            <a:srgbClr val="A4A3A4"/>
          </p15:clr>
        </p15:guide>
        <p15:guide id="4" pos="3672" userDrawn="1">
          <p15:clr>
            <a:srgbClr val="A4A3A4"/>
          </p15:clr>
        </p15:guide>
        <p15:guide id="5" pos="2952" userDrawn="1">
          <p15:clr>
            <a:srgbClr val="A4A3A4"/>
          </p15:clr>
        </p15:guide>
        <p15:guide id="6" pos="2808" userDrawn="1">
          <p15:clr>
            <a:srgbClr val="A4A3A4"/>
          </p15:clr>
        </p15:guide>
        <p15:guide id="7" pos="2088" userDrawn="1">
          <p15:clr>
            <a:srgbClr val="A4A3A4"/>
          </p15:clr>
        </p15:guide>
        <p15:guide id="8" pos="1920" userDrawn="1">
          <p15:clr>
            <a:srgbClr val="A4A3A4"/>
          </p15:clr>
        </p15:guide>
        <p15:guide id="9" orient="horz" pos="198" userDrawn="1">
          <p15:clr>
            <a:srgbClr val="A4A3A4"/>
          </p15:clr>
        </p15:guide>
        <p15:guide id="10" orient="horz" pos="486" userDrawn="1">
          <p15:clr>
            <a:srgbClr val="A4A3A4"/>
          </p15:clr>
        </p15:guide>
        <p15:guide id="11" orient="horz" pos="594" userDrawn="1">
          <p15:clr>
            <a:srgbClr val="A4A3A4"/>
          </p15:clr>
        </p15:guide>
        <p15:guide id="14" orient="horz" pos="2868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0" y="314326"/>
            <a:ext cx="80010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500" y="1399699"/>
            <a:ext cx="8001000" cy="31437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15100" y="4869658"/>
            <a:ext cx="2057400" cy="1714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1500" y="4869658"/>
            <a:ext cx="3086100" cy="171449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lnSpc>
                <a:spcPct val="100000"/>
              </a:lnSpc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cs typeface="Arial" charset="0"/>
              </a:rPr>
              <a:t>© </a:t>
            </a:r>
            <a:r>
              <a:rPr lang="en-US" kern="0">
                <a:cs typeface="Arial" charset="0"/>
              </a:rPr>
              <a:t>Euromonitor</a:t>
            </a:r>
            <a:r>
              <a:rPr lang="en-US">
                <a:cs typeface="Arial" charset="0"/>
              </a:rPr>
              <a:t> Internation</a:t>
            </a:r>
            <a:r>
              <a:rPr lang="en-US">
                <a:cs typeface="Tahoma" pitchFamily="34" charset="0"/>
              </a:rPr>
              <a:t>al</a:t>
            </a:r>
            <a:endParaRPr lang="en-US" dirty="0">
              <a:cs typeface="Tahoma" pitchFamily="34" charset="0"/>
            </a:endParaRP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F350437E-D2CC-4075-B1AB-6C7D771EFB03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461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55" r:id="rId2"/>
    <p:sldLayoutId id="2147483967" r:id="rId3"/>
    <p:sldLayoutId id="2147483968" r:id="rId4"/>
    <p:sldLayoutId id="2147483974" r:id="rId5"/>
    <p:sldLayoutId id="2147483970" r:id="rId6"/>
    <p:sldLayoutId id="2147483971" r:id="rId7"/>
    <p:sldLayoutId id="2147483972" r:id="rId8"/>
    <p:sldLayoutId id="2147483975" r:id="rId9"/>
    <p:sldLayoutId id="2147483959" r:id="rId10"/>
    <p:sldLayoutId id="2147483976" r:id="rId11"/>
    <p:sldLayoutId id="2147483979" r:id="rId12"/>
    <p:sldLayoutId id="2147483980" r:id="rId13"/>
    <p:sldLayoutId id="2147483981" r:id="rId14"/>
    <p:sldLayoutId id="2147483982" r:id="rId15"/>
    <p:sldLayoutId id="2147483983" r:id="rId16"/>
    <p:sldLayoutId id="2147483984" r:id="rId17"/>
    <p:sldLayoutId id="2147483985" r:id="rId18"/>
    <p:sldLayoutId id="2147483963" r:id="rId19"/>
    <p:sldLayoutId id="2147483994" r:id="rId20"/>
    <p:sldLayoutId id="2147483995" r:id="rId21"/>
    <p:sldLayoutId id="2147483988" r:id="rId22"/>
    <p:sldLayoutId id="2147483989" r:id="rId23"/>
    <p:sldLayoutId id="2147483990" r:id="rId24"/>
    <p:sldLayoutId id="2147483993" r:id="rId2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Wingdings" charset="2"/>
        <a:buNone/>
        <a:defRPr sz="21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Wingdings" charset="2"/>
        <a:buNone/>
        <a:defRPr sz="21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Wingdings" charset="2"/>
        <a:buNone/>
        <a:defRPr sz="21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Wingdings" charset="2"/>
        <a:buNone/>
        <a:defRPr sz="21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Wingdings" charset="2"/>
        <a:buNone/>
        <a:defRPr sz="21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8" userDrawn="1">
          <p15:clr>
            <a:srgbClr val="5ACBF0"/>
          </p15:clr>
        </p15:guide>
        <p15:guide id="2" orient="horz" pos="2862" userDrawn="1">
          <p15:clr>
            <a:srgbClr val="5ACBF0"/>
          </p15:clr>
        </p15:guide>
        <p15:guide id="3" pos="360" userDrawn="1">
          <p15:clr>
            <a:srgbClr val="5ACBF0"/>
          </p15:clr>
        </p15:guide>
        <p15:guide id="4" pos="5400" userDrawn="1">
          <p15:clr>
            <a:srgbClr val="5ACBF0"/>
          </p15:clr>
        </p15:guide>
        <p15:guide id="5" pos="2880" userDrawn="1">
          <p15:clr>
            <a:srgbClr val="5ACBF0"/>
          </p15:clr>
        </p15:guide>
        <p15:guide id="6" orient="horz" pos="3024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lvisdavalillo" TargetMode="External"/><Relationship Id="rId2" Type="http://schemas.openxmlformats.org/officeDocument/2006/relationships/hyperlink" Target="https://github.com/dvu4" TargetMode="External"/><Relationship Id="rId1" Type="http://schemas.openxmlformats.org/officeDocument/2006/relationships/slideLayout" Target="../slideLayouts/slideLayout44.xml"/><Relationship Id="rId4" Type="http://schemas.openxmlformats.org/officeDocument/2006/relationships/hyperlink" Target="https://github.com/farsyd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5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WomenTechWomenYes</a:t>
            </a:r>
            <a:r>
              <a:rPr lang="en-US" dirty="0"/>
              <a:t> : Summer Gala Fundraising Strateg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 project executed by Metis Consulting LLC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July 2019</a:t>
            </a:r>
          </a:p>
        </p:txBody>
      </p:sp>
    </p:spTree>
    <p:extLst>
      <p:ext uri="{BB962C8B-B14F-4D97-AF65-F5344CB8AC3E}">
        <p14:creationId xmlns:p14="http://schemas.microsoft.com/office/powerpoint/2010/main" val="19215192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8145998" cy="294894"/>
          </a:xfrm>
        </p:spPr>
        <p:txBody>
          <a:bodyPr/>
          <a:lstStyle/>
          <a:p>
            <a:r>
              <a:rPr lang="en-US" dirty="0"/>
              <a:t>A point ranking system (scorecard) with different weights for the attributes was used to find the top 5 stations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E4987B-0A20-B142-9475-08F2AE0B3FE1}" type="slidenum">
              <a:rPr lang="uk-UA" smtClean="0"/>
              <a:pPr/>
              <a:t>10</a:t>
            </a:fld>
            <a:endParaRPr lang="uk-UA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EB226C4-3938-244F-AB66-987E92E738F4}"/>
              </a:ext>
            </a:extLst>
          </p:cNvPr>
          <p:cNvSpPr txBox="1"/>
          <p:nvPr/>
        </p:nvSpPr>
        <p:spPr>
          <a:xfrm>
            <a:off x="666206" y="4454433"/>
            <a:ext cx="52936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w Data Source: Metropolitan Transportation Authority and American Community Survey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41B2ECE-837E-DA45-AD5A-FED2257DBFA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329" b="44299"/>
          <a:stretch/>
        </p:blipFill>
        <p:spPr>
          <a:xfrm>
            <a:off x="782938" y="1862107"/>
            <a:ext cx="4837889" cy="1419285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F7A6D40-F0E5-6D42-A8A3-663CB53136B7}"/>
              </a:ext>
            </a:extLst>
          </p:cNvPr>
          <p:cNvSpPr/>
          <p:nvPr/>
        </p:nvSpPr>
        <p:spPr>
          <a:xfrm>
            <a:off x="6527932" y="1336885"/>
            <a:ext cx="2044568" cy="31099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/>
              <a:t>The higher the rank the better the station is positioned in comparison with others for every attribu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r>
              <a:rPr lang="en-US" sz="1400" dirty="0"/>
              <a:t>The score column is the weighted average of the ranks (points) for traffic, income and commute colum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2341275E-F933-FE4D-A054-EC608C54DC0B}"/>
              </a:ext>
            </a:extLst>
          </p:cNvPr>
          <p:cNvCxnSpPr>
            <a:cxnSpLocks/>
          </p:cNvCxnSpPr>
          <p:nvPr/>
        </p:nvCxnSpPr>
        <p:spPr>
          <a:xfrm>
            <a:off x="566928" y="1699098"/>
            <a:ext cx="0" cy="178989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21ADF5D3-8B17-8F44-BC62-2C7862944941}"/>
              </a:ext>
            </a:extLst>
          </p:cNvPr>
          <p:cNvSpPr txBox="1"/>
          <p:nvPr/>
        </p:nvSpPr>
        <p:spPr>
          <a:xfrm rot="16200000">
            <a:off x="-199773" y="1725541"/>
            <a:ext cx="10235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re attractiv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FA6FBAC-C9F3-8C4D-A3B9-B7B08BA1C79E}"/>
              </a:ext>
            </a:extLst>
          </p:cNvPr>
          <p:cNvSpPr txBox="1"/>
          <p:nvPr/>
        </p:nvSpPr>
        <p:spPr>
          <a:xfrm rot="16200000">
            <a:off x="-204489" y="3499217"/>
            <a:ext cx="10235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ss attractiv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C33E94F-4F23-F14E-B629-FF1033D81BDD}"/>
              </a:ext>
            </a:extLst>
          </p:cNvPr>
          <p:cNvSpPr/>
          <p:nvPr/>
        </p:nvSpPr>
        <p:spPr>
          <a:xfrm>
            <a:off x="1776920" y="1500061"/>
            <a:ext cx="466927" cy="204693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003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8145998" cy="294894"/>
          </a:xfrm>
        </p:spPr>
        <p:txBody>
          <a:bodyPr/>
          <a:lstStyle/>
          <a:p>
            <a:r>
              <a:rPr lang="en-US" dirty="0"/>
              <a:t>Now we have the top locations let’s find the best time frames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E4987B-0A20-B142-9475-08F2AE0B3FE1}" type="slidenum">
              <a:rPr lang="uk-UA" smtClean="0"/>
              <a:pPr/>
              <a:t>11</a:t>
            </a:fld>
            <a:endParaRPr lang="uk-UA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720D6A60-8506-B847-819D-DACACB6B3FC0}"/>
              </a:ext>
            </a:extLst>
          </p:cNvPr>
          <p:cNvSpPr txBox="1">
            <a:spLocks noGrp="1"/>
          </p:cNvSpPr>
          <p:nvPr>
            <p:ph type="body" sz="quarter" idx="16"/>
          </p:nvPr>
        </p:nvSpPr>
        <p:spPr>
          <a:xfrm>
            <a:off x="724990" y="1012363"/>
            <a:ext cx="7524206" cy="2857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 fontAlgn="auto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charset="2"/>
              <a:buNone/>
              <a:defRPr sz="1300">
                <a:solidFill>
                  <a:schemeClr val="accent1"/>
                </a:solidFill>
                <a:latin typeface="+mj-lt"/>
              </a:defRPr>
            </a:lvl1pPr>
            <a:lvl2pPr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defRPr sz="1300">
                <a:solidFill>
                  <a:schemeClr val="accent1"/>
                </a:solidFill>
                <a:latin typeface="+mj-lt"/>
              </a:defRPr>
            </a:lvl2pPr>
            <a:lvl3pPr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defRPr sz="1300">
                <a:solidFill>
                  <a:schemeClr val="accent1"/>
                </a:solidFill>
                <a:latin typeface="+mj-lt"/>
              </a:defRPr>
            </a:lvl3pPr>
            <a:lvl4pPr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defRPr sz="1300">
                <a:solidFill>
                  <a:schemeClr val="accent1"/>
                </a:solidFill>
                <a:latin typeface="+mj-lt"/>
              </a:defRPr>
            </a:lvl4pPr>
            <a:lvl5pPr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defRPr sz="1300">
                <a:solidFill>
                  <a:schemeClr val="accent1"/>
                </a:solidFill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algn="ctr"/>
            <a:r>
              <a:rPr lang="en-US" dirty="0"/>
              <a:t>Traffic by time of the day (June 2018-2019, units: people, 24-hour clock)*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EB226C4-3938-244F-AB66-987E92E738F4}"/>
              </a:ext>
            </a:extLst>
          </p:cNvPr>
          <p:cNvSpPr txBox="1"/>
          <p:nvPr/>
        </p:nvSpPr>
        <p:spPr>
          <a:xfrm>
            <a:off x="666206" y="4454433"/>
            <a:ext cx="36837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w Data Source: Metropolitan Transportation Authority</a:t>
            </a:r>
          </a:p>
          <a:p>
            <a:r>
              <a:rPr lang="en-US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Excluding weekend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97F657-81F7-4C4A-B91B-B738B630D7A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903"/>
          <a:stretch/>
        </p:blipFill>
        <p:spPr>
          <a:xfrm>
            <a:off x="1280642" y="1298113"/>
            <a:ext cx="6718570" cy="2784102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976811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8005572" cy="294894"/>
          </a:xfrm>
        </p:spPr>
        <p:txBody>
          <a:bodyPr/>
          <a:lstStyle/>
          <a:p>
            <a:r>
              <a:rPr lang="en-US" dirty="0"/>
              <a:t>The top 5 stations have a favorable ratio of traffic, income and commuters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E4987B-0A20-B142-9475-08F2AE0B3FE1}" type="slidenum">
              <a:rPr lang="uk-UA" smtClean="0"/>
              <a:pPr/>
              <a:t>12</a:t>
            </a:fld>
            <a:endParaRPr lang="uk-UA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5EFF901-2F79-0644-A6D8-338C7FDDC9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3910" y="680085"/>
            <a:ext cx="4043806" cy="4238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1745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ULTON ST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half" idx="2"/>
          </p:nvPr>
        </p:nvSpPr>
        <p:spPr>
          <a:xfrm>
            <a:off x="22861" y="1878806"/>
            <a:ext cx="1773281" cy="2003822"/>
          </a:xfrm>
        </p:spPr>
        <p:txBody>
          <a:bodyPr/>
          <a:lstStyle/>
          <a:p>
            <a:r>
              <a:rPr lang="en-US" dirty="0"/>
              <a:t>10038</a:t>
            </a:r>
          </a:p>
          <a:p>
            <a:endParaRPr lang="en-US" dirty="0"/>
          </a:p>
          <a:p>
            <a:r>
              <a:rPr lang="en-US" dirty="0"/>
              <a:t>Large office buildings and shopping space</a:t>
            </a:r>
          </a:p>
          <a:p>
            <a:endParaRPr lang="en-US" dirty="0"/>
          </a:p>
          <a:p>
            <a:r>
              <a:rPr lang="en-US" dirty="0"/>
              <a:t>Top 10 in traffic </a:t>
            </a:r>
          </a:p>
          <a:p>
            <a:endParaRPr lang="en-US" dirty="0"/>
          </a:p>
          <a:p>
            <a:r>
              <a:rPr lang="en-US" dirty="0"/>
              <a:t>Top 10 in commuter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23 S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/>
              <a:t>10011</a:t>
            </a:r>
          </a:p>
          <a:p>
            <a:endParaRPr lang="en-US" dirty="0"/>
          </a:p>
          <a:p>
            <a:r>
              <a:rPr lang="en-US" dirty="0"/>
              <a:t>Large office buildings, universities and hospitals</a:t>
            </a:r>
          </a:p>
          <a:p>
            <a:endParaRPr lang="en-US" dirty="0"/>
          </a:p>
          <a:p>
            <a:r>
              <a:rPr lang="en-US" dirty="0"/>
              <a:t>Top 5 in traffic </a:t>
            </a:r>
          </a:p>
          <a:p>
            <a:endParaRPr lang="en-US" dirty="0"/>
          </a:p>
          <a:p>
            <a:r>
              <a:rPr lang="en-US" dirty="0"/>
              <a:t>High income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86 S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10028</a:t>
            </a:r>
          </a:p>
          <a:p>
            <a:endParaRPr lang="en-US" dirty="0"/>
          </a:p>
          <a:p>
            <a:r>
              <a:rPr lang="en-US" dirty="0"/>
              <a:t>Wealthy neighborhood</a:t>
            </a:r>
          </a:p>
          <a:p>
            <a:endParaRPr lang="en-US" dirty="0"/>
          </a:p>
          <a:p>
            <a:r>
              <a:rPr lang="en-US" dirty="0"/>
              <a:t>Top 10 in traffic </a:t>
            </a:r>
          </a:p>
          <a:p>
            <a:endParaRPr lang="en-US" dirty="0"/>
          </a:p>
          <a:p>
            <a:r>
              <a:rPr lang="en-US" dirty="0"/>
              <a:t>High incom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5554982" y="1260872"/>
            <a:ext cx="1701437" cy="617934"/>
          </a:xfrm>
        </p:spPr>
        <p:txBody>
          <a:bodyPr/>
          <a:lstStyle/>
          <a:p>
            <a:r>
              <a:rPr lang="en-US" dirty="0"/>
              <a:t>59 ST</a:t>
            </a:r>
          </a:p>
          <a:p>
            <a:r>
              <a:rPr lang="en-US" dirty="0"/>
              <a:t>COLUMBUS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6"/>
          </p:nvPr>
        </p:nvSpPr>
        <p:spPr>
          <a:xfrm>
            <a:off x="5554983" y="1878806"/>
            <a:ext cx="1701436" cy="1762506"/>
          </a:xfrm>
        </p:spPr>
        <p:txBody>
          <a:bodyPr/>
          <a:lstStyle/>
          <a:p>
            <a:r>
              <a:rPr lang="en-US" dirty="0"/>
              <a:t>10023</a:t>
            </a:r>
          </a:p>
          <a:p>
            <a:endParaRPr lang="en-US" dirty="0"/>
          </a:p>
          <a:p>
            <a:r>
              <a:rPr lang="en-US" dirty="0"/>
              <a:t>Large office buildings and universities</a:t>
            </a:r>
          </a:p>
          <a:p>
            <a:endParaRPr lang="en-US" dirty="0"/>
          </a:p>
          <a:p>
            <a:r>
              <a:rPr lang="en-US" dirty="0"/>
              <a:t>Top 10 in traffic </a:t>
            </a:r>
          </a:p>
          <a:p>
            <a:endParaRPr lang="en-US" dirty="0"/>
          </a:p>
          <a:p>
            <a:r>
              <a:rPr lang="en-US" dirty="0"/>
              <a:t>High incomes</a:t>
            </a:r>
          </a:p>
          <a:p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14 ST-UNION SQ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dirty="0"/>
              <a:t>10003</a:t>
            </a:r>
          </a:p>
          <a:p>
            <a:endParaRPr lang="en-US" dirty="0"/>
          </a:p>
          <a:p>
            <a:r>
              <a:rPr lang="en-US" dirty="0"/>
              <a:t>Corporate offices from large tech (Google, FB, etc.)</a:t>
            </a:r>
          </a:p>
          <a:p>
            <a:endParaRPr lang="en-US" dirty="0"/>
          </a:p>
          <a:p>
            <a:r>
              <a:rPr lang="en-US" dirty="0"/>
              <a:t>Top 5 in traffic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259AE-6FA2-DE49-8C03-2AB7F423A378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2188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Takeaways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E4987B-0A20-B142-9475-08F2AE0B3FE1}" type="slidenum">
              <a:rPr lang="uk-UA" smtClean="0"/>
              <a:pPr/>
              <a:t>14</a:t>
            </a:fld>
            <a:endParaRPr lang="uk-UA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dirty="0"/>
              <a:t>Stations such as the 23</a:t>
            </a:r>
            <a:r>
              <a:rPr lang="en-US" baseline="30000" dirty="0"/>
              <a:t>rd</a:t>
            </a:r>
            <a:r>
              <a:rPr lang="en-US" dirty="0"/>
              <a:t> Street have connection to different MTA lines and also to buses, which guarantee a high traffic to capture email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The stations with the highest traffic have transfers to different lin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/>
              <a:t>The morning period (8am -12pm) is the best time to capture emails, followed by the 12-8pm period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Time frames during commute periods are the best to increase reach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US" dirty="0"/>
              <a:t>To reduce the effect of outliers and special event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The expansion of data to cover multiple years could help to improve analysis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US" dirty="0"/>
              <a:t>Not everybody commute to work using the train,  adding street teams outside train stations in trendy neighborhoods could increase reach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Expanding street teams outside subway stations can improve target accuracy </a:t>
            </a:r>
          </a:p>
        </p:txBody>
      </p:sp>
    </p:spTree>
    <p:extLst>
      <p:ext uri="{BB962C8B-B14F-4D97-AF65-F5344CB8AC3E}">
        <p14:creationId xmlns:p14="http://schemas.microsoft.com/office/powerpoint/2010/main" val="4319304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/>
              <a:t>Duc Vu</a:t>
            </a:r>
            <a:br>
              <a:rPr lang="en-GB" dirty="0"/>
            </a:br>
            <a:r>
              <a:rPr lang="en-GB" dirty="0">
                <a:hlinkClick r:id="rId2"/>
              </a:rPr>
              <a:t>https://github.com/dvu4</a:t>
            </a:r>
            <a:endParaRPr lang="en-GB" dirty="0"/>
          </a:p>
          <a:p>
            <a:endParaRPr lang="en-GB" dirty="0"/>
          </a:p>
          <a:p>
            <a:r>
              <a:rPr lang="en-US" b="1" dirty="0"/>
              <a:t>Elvis Davalillo</a:t>
            </a:r>
            <a:br>
              <a:rPr lang="en-GB" dirty="0"/>
            </a:br>
            <a:r>
              <a:rPr lang="en-GB" dirty="0">
                <a:hlinkClick r:id="rId3"/>
              </a:rPr>
              <a:t>https://github.com/elvisdavalillo</a:t>
            </a:r>
            <a:endParaRPr lang="en-GB" dirty="0"/>
          </a:p>
          <a:p>
            <a:endParaRPr lang="en-US" b="1" dirty="0"/>
          </a:p>
          <a:p>
            <a:r>
              <a:rPr lang="en-US" b="1" dirty="0"/>
              <a:t>Farhan Syed</a:t>
            </a:r>
            <a:endParaRPr lang="en-GB" dirty="0"/>
          </a:p>
          <a:p>
            <a:r>
              <a:rPr lang="en-GB" dirty="0">
                <a:hlinkClick r:id="rId4"/>
              </a:rPr>
              <a:t>https://</a:t>
            </a:r>
            <a:r>
              <a:rPr lang="en-GB" dirty="0" err="1">
                <a:hlinkClick r:id="rId4"/>
              </a:rPr>
              <a:t>github.com</a:t>
            </a:r>
            <a:r>
              <a:rPr lang="en-GB" dirty="0">
                <a:hlinkClick r:id="rId4"/>
              </a:rPr>
              <a:t>/</a:t>
            </a:r>
            <a:r>
              <a:rPr lang="en-GB" dirty="0" err="1">
                <a:hlinkClick r:id="rId4"/>
              </a:rPr>
              <a:t>farsyd</a:t>
            </a:r>
            <a:endParaRPr lang="en-GB" dirty="0"/>
          </a:p>
          <a:p>
            <a:endParaRPr lang="en-GB" dirty="0"/>
          </a:p>
          <a:p>
            <a:br>
              <a:rPr lang="en-GB" dirty="0"/>
            </a:b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1924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Background</a:t>
            </a:r>
          </a:p>
          <a:p>
            <a:r>
              <a:rPr lang="en-US" dirty="0">
                <a:solidFill>
                  <a:schemeClr val="tx1"/>
                </a:solidFill>
              </a:rPr>
              <a:t>Data</a:t>
            </a:r>
            <a:r>
              <a:rPr lang="en-US" dirty="0"/>
              <a:t> </a:t>
            </a:r>
            <a:r>
              <a:rPr lang="en-US" dirty="0">
                <a:solidFill>
                  <a:schemeClr val="tx1"/>
                </a:solidFill>
              </a:rPr>
              <a:t>Wrangling</a:t>
            </a:r>
          </a:p>
          <a:p>
            <a:r>
              <a:rPr lang="en-US" dirty="0">
                <a:solidFill>
                  <a:schemeClr val="tx1"/>
                </a:solidFill>
              </a:rPr>
              <a:t>EDA</a:t>
            </a:r>
          </a:p>
          <a:p>
            <a:r>
              <a:rPr lang="en-US" dirty="0">
                <a:solidFill>
                  <a:schemeClr val="tx1"/>
                </a:solidFill>
              </a:rPr>
              <a:t>Recommendations</a:t>
            </a:r>
          </a:p>
          <a:p>
            <a:r>
              <a:rPr lang="en-US" dirty="0">
                <a:solidFill>
                  <a:schemeClr val="tx1"/>
                </a:solidFill>
              </a:rPr>
              <a:t>Key Takeaways</a:t>
            </a:r>
          </a:p>
          <a:p>
            <a:r>
              <a:rPr lang="en-US" dirty="0"/>
              <a:t>Appendix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pic>
        <p:nvPicPr>
          <p:cNvPr id="6" name="Picture Placeholder 5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l="70278"/>
          <a:stretch/>
        </p:blipFill>
        <p:spPr>
          <a:xfrm>
            <a:off x="6845474" y="0"/>
            <a:ext cx="2298526" cy="5143499"/>
          </a:xfrm>
        </p:spPr>
      </p:pic>
    </p:spTree>
    <p:extLst>
      <p:ext uri="{BB962C8B-B14F-4D97-AF65-F5344CB8AC3E}">
        <p14:creationId xmlns:p14="http://schemas.microsoft.com/office/powerpoint/2010/main" val="24937036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8145998" cy="294894"/>
          </a:xfrm>
        </p:spPr>
        <p:txBody>
          <a:bodyPr/>
          <a:lstStyle/>
          <a:p>
            <a:r>
              <a:rPr lang="en-US" dirty="0"/>
              <a:t>Wednesdays and Thursdays tend to have a slightly higher traffic than the rest of the days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E4987B-0A20-B142-9475-08F2AE0B3FE1}" type="slidenum">
              <a:rPr lang="uk-UA" smtClean="0"/>
              <a:pPr/>
              <a:t>17</a:t>
            </a:fld>
            <a:endParaRPr lang="uk-UA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720D6A60-8506-B847-819D-DACACB6B3FC0}"/>
              </a:ext>
            </a:extLst>
          </p:cNvPr>
          <p:cNvSpPr txBox="1">
            <a:spLocks noGrp="1"/>
          </p:cNvSpPr>
          <p:nvPr>
            <p:ph type="body" sz="quarter" idx="16"/>
          </p:nvPr>
        </p:nvSpPr>
        <p:spPr>
          <a:xfrm>
            <a:off x="724990" y="1012363"/>
            <a:ext cx="7524206" cy="2857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 fontAlgn="auto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charset="2"/>
              <a:buNone/>
              <a:defRPr sz="1300">
                <a:solidFill>
                  <a:schemeClr val="accent1"/>
                </a:solidFill>
                <a:latin typeface="+mj-lt"/>
              </a:defRPr>
            </a:lvl1pPr>
            <a:lvl2pPr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defRPr sz="1300">
                <a:solidFill>
                  <a:schemeClr val="accent1"/>
                </a:solidFill>
                <a:latin typeface="+mj-lt"/>
              </a:defRPr>
            </a:lvl2pPr>
            <a:lvl3pPr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defRPr sz="1300">
                <a:solidFill>
                  <a:schemeClr val="accent1"/>
                </a:solidFill>
                <a:latin typeface="+mj-lt"/>
              </a:defRPr>
            </a:lvl3pPr>
            <a:lvl4pPr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defRPr sz="1300">
                <a:solidFill>
                  <a:schemeClr val="accent1"/>
                </a:solidFill>
                <a:latin typeface="+mj-lt"/>
              </a:defRPr>
            </a:lvl4pPr>
            <a:lvl5pPr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defRPr sz="1300">
                <a:solidFill>
                  <a:schemeClr val="accent1"/>
                </a:solidFill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algn="ctr"/>
            <a:r>
              <a:rPr lang="en-US" dirty="0"/>
              <a:t>Traffic by weekday for top 5 stations (June 2018-2019, units: people, weekday)*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EB226C4-3938-244F-AB66-987E92E738F4}"/>
              </a:ext>
            </a:extLst>
          </p:cNvPr>
          <p:cNvSpPr txBox="1"/>
          <p:nvPr/>
        </p:nvSpPr>
        <p:spPr>
          <a:xfrm>
            <a:off x="666206" y="4454433"/>
            <a:ext cx="36837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w Data Source: Metropolitan Transportation Authority</a:t>
            </a:r>
          </a:p>
          <a:p>
            <a:r>
              <a:rPr lang="en-US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Excluding weekend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72095A8-2ADE-FC48-B99B-153814D5E6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788"/>
          <a:stretch/>
        </p:blipFill>
        <p:spPr>
          <a:xfrm>
            <a:off x="1009266" y="1298113"/>
            <a:ext cx="7125467" cy="2956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8088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consistent turnstile data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Replace negative entries and exits rates with zero.</a:t>
            </a:r>
          </a:p>
          <a:p>
            <a:endParaRPr lang="en-US" dirty="0"/>
          </a:p>
          <a:p>
            <a:r>
              <a:rPr lang="en-US" dirty="0"/>
              <a:t>Label differences in total traffic greater than 80,000 per turnstile per day. 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Missing zip cod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/>
              <a:t>Modified existing code for Google Maps API</a:t>
            </a:r>
          </a:p>
          <a:p>
            <a:endParaRPr lang="en-US" dirty="0"/>
          </a:p>
          <a:p>
            <a:r>
              <a:rPr lang="en-US" dirty="0"/>
              <a:t>Searched using station names from turnstile data</a:t>
            </a:r>
          </a:p>
          <a:p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Null valu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Missing commuter data was assumed to be zero</a:t>
            </a:r>
          </a:p>
          <a:p>
            <a:endParaRPr lang="en-US" dirty="0"/>
          </a:p>
          <a:p>
            <a:r>
              <a:rPr lang="en-US" dirty="0"/>
              <a:t>Rows with missing incomes where removed from the survey dat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259AE-6FA2-DE49-8C03-2AB7F423A378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641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FE46ED01-B99C-7846-8425-DF3FA89705D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8873" b="8873"/>
          <a:stretch>
            <a:fillRect/>
          </a:stretch>
        </p:blipFill>
        <p:spPr/>
      </p:pic>
      <p:sp>
        <p:nvSpPr>
          <p:cNvPr id="16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-1" y="0"/>
            <a:ext cx="6845475" cy="51435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WomenTechWomenYes</a:t>
            </a:r>
            <a:r>
              <a:rPr lang="en-US" dirty="0"/>
              <a:t>(WTWY) is throwing its annual gala this sum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reet teams will collect emails to send out tickets for the gal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TWY wants to target, identify and capture potential major don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259AE-6FA2-DE49-8C03-2AB7F423A37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5324358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/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/>
          <a:stretch/>
        </p:blipFill>
        <p:spPr>
          <a:xfrm>
            <a:off x="0" y="1"/>
            <a:ext cx="9144000" cy="5143499"/>
          </a:xfrm>
        </p:spPr>
      </p:pic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How do we target, identify, and capture potential major donors?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259AE-6FA2-DE49-8C03-2AB7F423A378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4384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ubway Station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Identify high traffic stations (entries and exits)</a:t>
            </a:r>
          </a:p>
          <a:p>
            <a:r>
              <a:rPr lang="en-US" dirty="0"/>
              <a:t>Days and tim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Income 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/>
              <a:t>Focus on households &gt;$200k year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mmuter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Working individuals</a:t>
            </a:r>
          </a:p>
          <a:p>
            <a:r>
              <a:rPr lang="en-US" dirty="0"/>
              <a:t>Work week only</a:t>
            </a:r>
          </a:p>
          <a:p>
            <a:r>
              <a:rPr lang="en-US" dirty="0"/>
              <a:t>Diminish the effect of tourists</a:t>
            </a:r>
          </a:p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lternative Data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dirty="0"/>
              <a:t>Relative presence of tech hubs</a:t>
            </a:r>
          </a:p>
          <a:p>
            <a:r>
              <a:rPr lang="en-US" dirty="0"/>
              <a:t>Relative presence of Corporate offic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259AE-6FA2-DE49-8C03-2AB7F423A378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2759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TA Turnsti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Historical MTA turnstile data from June 2018 to June 2019</a:t>
            </a:r>
          </a:p>
          <a:p>
            <a:endParaRPr lang="en-US" dirty="0"/>
          </a:p>
          <a:p>
            <a:r>
              <a:rPr lang="en-US" dirty="0"/>
              <a:t>Google Maps API was used to pair stations with zip cod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"/>
          </p:nvPr>
        </p:nvSpPr>
        <p:spPr>
          <a:xfrm>
            <a:off x="5134353" y="2969023"/>
            <a:ext cx="3915701" cy="617934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American Community Survey (ACS)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4"/>
          </p:nvPr>
        </p:nvSpPr>
        <p:spPr>
          <a:xfrm>
            <a:off x="5134355" y="3586957"/>
            <a:ext cx="3696493" cy="1117854"/>
          </a:xfrm>
        </p:spPr>
        <p:txBody>
          <a:bodyPr/>
          <a:lstStyle/>
          <a:p>
            <a:r>
              <a:rPr lang="en-US" dirty="0"/>
              <a:t>Accessed ACS data from 2017 to identify zip codes with high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useholds commuting to work by public transpor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useholds with  income&gt;$200k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259AE-6FA2-DE49-8C03-2AB7F423A37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KEY DATA SOURCES</a:t>
            </a:r>
          </a:p>
        </p:txBody>
      </p:sp>
    </p:spTree>
    <p:extLst>
      <p:ext uri="{BB962C8B-B14F-4D97-AF65-F5344CB8AC3E}">
        <p14:creationId xmlns:p14="http://schemas.microsoft.com/office/powerpoint/2010/main" val="8449086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8005572" cy="294894"/>
          </a:xfrm>
        </p:spPr>
        <p:txBody>
          <a:bodyPr/>
          <a:lstStyle/>
          <a:p>
            <a:r>
              <a:rPr lang="en-US" dirty="0"/>
              <a:t>Let’s play first with the MTA Turnstiles data : Top 10 stations by traffic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E4987B-0A20-B142-9475-08F2AE0B3FE1}" type="slidenum">
              <a:rPr lang="uk-UA" smtClean="0"/>
              <a:pPr/>
              <a:t>6</a:t>
            </a:fld>
            <a:endParaRPr lang="uk-UA" dirty="0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0D28AB45-A535-A14B-AEC0-7A54AC044E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244" r="7572" b="6307"/>
          <a:stretch/>
        </p:blipFill>
        <p:spPr>
          <a:xfrm>
            <a:off x="875210" y="1037353"/>
            <a:ext cx="6825551" cy="3247263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911A28FE-5C20-2E4D-BE93-6A4028D89E7B}"/>
              </a:ext>
            </a:extLst>
          </p:cNvPr>
          <p:cNvSpPr txBox="1"/>
          <p:nvPr/>
        </p:nvSpPr>
        <p:spPr>
          <a:xfrm>
            <a:off x="666206" y="4428309"/>
            <a:ext cx="36837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w Data Source: Metropolitan Transportation Authority </a:t>
            </a:r>
          </a:p>
          <a:p>
            <a:r>
              <a:rPr lang="en-US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 Only including weekdays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F3DA0AFA-2A25-6247-83E7-3E631C358DDA}"/>
              </a:ext>
            </a:extLst>
          </p:cNvPr>
          <p:cNvSpPr txBox="1">
            <a:spLocks noGrp="1"/>
          </p:cNvSpPr>
          <p:nvPr>
            <p:ph type="body" sz="quarter" idx="16"/>
          </p:nvPr>
        </p:nvSpPr>
        <p:spPr>
          <a:xfrm>
            <a:off x="2278815" y="855619"/>
            <a:ext cx="4581797" cy="2857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 fontAlgn="auto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charset="2"/>
              <a:buNone/>
              <a:defRPr sz="1300">
                <a:solidFill>
                  <a:schemeClr val="accent1"/>
                </a:solidFill>
                <a:latin typeface="+mj-lt"/>
              </a:defRPr>
            </a:lvl1pPr>
            <a:lvl2pPr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defRPr sz="1300">
                <a:solidFill>
                  <a:schemeClr val="accent1"/>
                </a:solidFill>
                <a:latin typeface="+mj-lt"/>
              </a:defRPr>
            </a:lvl2pPr>
            <a:lvl3pPr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defRPr sz="1300">
                <a:solidFill>
                  <a:schemeClr val="accent1"/>
                </a:solidFill>
                <a:latin typeface="+mj-lt"/>
              </a:defRPr>
            </a:lvl3pPr>
            <a:lvl4pPr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defRPr sz="1300">
                <a:solidFill>
                  <a:schemeClr val="accent1"/>
                </a:solidFill>
                <a:latin typeface="+mj-lt"/>
              </a:defRPr>
            </a:lvl4pPr>
            <a:lvl5pPr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defRPr sz="1300">
                <a:solidFill>
                  <a:schemeClr val="accent1"/>
                </a:solidFill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r>
              <a:rPr lang="en-US" dirty="0"/>
              <a:t>Top 10 stations by traffic (June 2018-2019, units: 10 </a:t>
            </a:r>
            <a:r>
              <a:rPr lang="en-US" dirty="0" err="1"/>
              <a:t>mn</a:t>
            </a:r>
            <a:r>
              <a:rPr lang="en-US" dirty="0"/>
              <a:t> people)*</a:t>
            </a:r>
          </a:p>
        </p:txBody>
      </p:sp>
    </p:spTree>
    <p:extLst>
      <p:ext uri="{BB962C8B-B14F-4D97-AF65-F5344CB8AC3E}">
        <p14:creationId xmlns:p14="http://schemas.microsoft.com/office/powerpoint/2010/main" val="6715116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/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/>
          <a:stretch/>
        </p:blipFill>
        <p:spPr>
          <a:xfrm>
            <a:off x="0" y="1"/>
            <a:ext cx="9144000" cy="5143499"/>
          </a:xfrm>
        </p:spPr>
      </p:pic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is is cool, but what if we include some demographics into the analysis?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259AE-6FA2-DE49-8C03-2AB7F423A378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97192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8145998" cy="294894"/>
          </a:xfrm>
        </p:spPr>
        <p:txBody>
          <a:bodyPr/>
          <a:lstStyle/>
          <a:p>
            <a:r>
              <a:rPr lang="en-US" dirty="0"/>
              <a:t>ACS Data: We want zip codes with high incomes and commuters by public transport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E4987B-0A20-B142-9475-08F2AE0B3FE1}" type="slidenum">
              <a:rPr lang="uk-UA" smtClean="0"/>
              <a:pPr/>
              <a:t>8</a:t>
            </a:fld>
            <a:endParaRPr lang="uk-U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4EA31D-5A0E-4340-B112-23BB9B80BD7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318" t="10031" r="8009" b="5778"/>
          <a:stretch/>
        </p:blipFill>
        <p:spPr>
          <a:xfrm>
            <a:off x="1704703" y="1174024"/>
            <a:ext cx="5244738" cy="3436030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720D6A60-8506-B847-819D-DACACB6B3FC0}"/>
              </a:ext>
            </a:extLst>
          </p:cNvPr>
          <p:cNvSpPr txBox="1">
            <a:spLocks noGrp="1"/>
          </p:cNvSpPr>
          <p:nvPr>
            <p:ph type="body" sz="quarter" idx="16"/>
          </p:nvPr>
        </p:nvSpPr>
        <p:spPr>
          <a:xfrm>
            <a:off x="724990" y="1012363"/>
            <a:ext cx="7524206" cy="2857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 fontAlgn="auto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charset="2"/>
              <a:buNone/>
              <a:defRPr sz="1300">
                <a:solidFill>
                  <a:schemeClr val="accent1"/>
                </a:solidFill>
                <a:latin typeface="+mj-lt"/>
              </a:defRPr>
            </a:lvl1pPr>
            <a:lvl2pPr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defRPr sz="1300">
                <a:solidFill>
                  <a:schemeClr val="accent1"/>
                </a:solidFill>
                <a:latin typeface="+mj-lt"/>
              </a:defRPr>
            </a:lvl2pPr>
            <a:lvl3pPr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defRPr sz="1300">
                <a:solidFill>
                  <a:schemeClr val="accent1"/>
                </a:solidFill>
                <a:latin typeface="+mj-lt"/>
              </a:defRPr>
            </a:lvl3pPr>
            <a:lvl4pPr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defRPr sz="1300">
                <a:solidFill>
                  <a:schemeClr val="accent1"/>
                </a:solidFill>
                <a:latin typeface="+mj-lt"/>
              </a:defRPr>
            </a:lvl4pPr>
            <a:lvl5pPr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defRPr sz="1300">
                <a:solidFill>
                  <a:schemeClr val="accent1"/>
                </a:solidFill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algn="ctr"/>
            <a:r>
              <a:rPr lang="en-US" dirty="0"/>
              <a:t>Households with income  &gt;200 vs public transportation commuters for NYC zip codes  (2017, units: %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EB226C4-3938-244F-AB66-987E92E738F4}"/>
              </a:ext>
            </a:extLst>
          </p:cNvPr>
          <p:cNvSpPr txBox="1"/>
          <p:nvPr/>
        </p:nvSpPr>
        <p:spPr>
          <a:xfrm>
            <a:off x="666206" y="4454433"/>
            <a:ext cx="36837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w Data Source: American Community Survey </a:t>
            </a:r>
          </a:p>
        </p:txBody>
      </p:sp>
    </p:spTree>
    <p:extLst>
      <p:ext uri="{BB962C8B-B14F-4D97-AF65-F5344CB8AC3E}">
        <p14:creationId xmlns:p14="http://schemas.microsoft.com/office/powerpoint/2010/main" val="5821030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10"/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/>
          <a:stretch/>
        </p:blipFill>
        <p:spPr>
          <a:xfrm>
            <a:off x="0" y="1"/>
            <a:ext cx="9143999" cy="5143499"/>
          </a:xfrm>
        </p:spPr>
      </p:pic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5400" dirty="0"/>
              <a:t>To find the station with the best combination between traffic, income, and commuters a scorecard was created</a:t>
            </a: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259AE-6FA2-DE49-8C03-2AB7F423A378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76215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5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44"/>
  <p:tag name="MIO_HDS" val="True"/>
  <p:tag name="MIO_SKIPVERSION" val="01.01.0001 00:00:00"/>
  <p:tag name="MIO_EKGUID" val="e316e346-a9f4-4ad8-9ca0-fb8cca222c0e"/>
  <p:tag name="MIO_UPDATE" val="True"/>
  <p:tag name="MIO_VERSION" val="12.09.2017 19:07:13"/>
  <p:tag name="MIO_DBID" val="4A89AFF6-6C26-4C78-A859-0F5A1F8FB879"/>
  <p:tag name="MIO_LASTDOWNLOADED" val="05.07.2019 17:23:32"/>
  <p:tag name="MIO_OBJECTNAME" val="CG Pres (wide)"/>
  <p:tag name="MIO_CDID" val="3ccf968f-3901-48b0-a147-5cd64b0d529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e316e346-a9f4-4ad8-9ca0-fb8cca222c0e"/>
  <p:tag name="MIO_UPDATE" val="True"/>
  <p:tag name="MIO_VERSION" val="12.09.2017 19:07:13"/>
  <p:tag name="MIO_DBID" val="4A89AFF6-6C26-4C78-A859-0F5A1F8FB879"/>
  <p:tag name="MIO_LASTDOWNLOADED" val="05.07.2019 17:23:32"/>
  <p:tag name="MIO_OBJECTNAME" val="CG Pres (wide)"/>
  <p:tag name="MIO_CDID" val="3ccf968f-3901-48b0-a147-5cd64b0d5294"/>
</p:tagLst>
</file>

<file path=ppt/theme/theme1.xml><?xml version="1.0" encoding="utf-8"?>
<a:theme xmlns:a="http://schemas.openxmlformats.org/drawingml/2006/main" name="Presentation Style - Data ">
  <a:themeElements>
    <a:clrScheme name="Euro Consulting">
      <a:dk1>
        <a:srgbClr val="595959"/>
      </a:dk1>
      <a:lt1>
        <a:srgbClr val="FFFFFF"/>
      </a:lt1>
      <a:dk2>
        <a:srgbClr val="000000"/>
      </a:dk2>
      <a:lt2>
        <a:srgbClr val="FFFFFF"/>
      </a:lt2>
      <a:accent1>
        <a:srgbClr val="A83D72"/>
      </a:accent1>
      <a:accent2>
        <a:srgbClr val="35647D"/>
      </a:accent2>
      <a:accent3>
        <a:srgbClr val="7F7F7F"/>
      </a:accent3>
      <a:accent4>
        <a:srgbClr val="FF9E15"/>
      </a:accent4>
      <a:accent5>
        <a:srgbClr val="00A6CE"/>
      </a:accent5>
      <a:accent6>
        <a:srgbClr val="414141"/>
      </a:accent6>
      <a:hlink>
        <a:srgbClr val="02AED9"/>
      </a:hlink>
      <a:folHlink>
        <a:srgbClr val="5D87A0"/>
      </a:folHlink>
    </a:clrScheme>
    <a:fontScheme name="Calibri-Cambria">
      <a:majorFont>
        <a:latin typeface="Calibri" panose="020F0502020204030204"/>
        <a:ea typeface=""/>
        <a:cs typeface=""/>
        <a:font script="Jpan" typeface="HGｺﾞｼｯｸM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mbria" panose="02040503050406030204"/>
        <a:ea typeface=""/>
        <a:cs typeface=""/>
        <a:font script="Jpan" typeface="HG明朝B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C-PresStyle-templt_16x9_R1" id="{51D6392F-5A7F-CB4F-9DE8-8696799F2EFA}" vid="{AFD6A099-D594-FE4C-85F7-444F880534E0}"/>
    </a:ext>
  </a:extLst>
</a:theme>
</file>

<file path=ppt/theme/theme2.xml><?xml version="1.0" encoding="utf-8"?>
<a:theme xmlns:a="http://schemas.openxmlformats.org/drawingml/2006/main" name="Impact Slides">
  <a:themeElements>
    <a:clrScheme name="Consulting 1">
      <a:dk1>
        <a:srgbClr val="595959"/>
      </a:dk1>
      <a:lt1>
        <a:srgbClr val="FFFFFF"/>
      </a:lt1>
      <a:dk2>
        <a:srgbClr val="000000"/>
      </a:dk2>
      <a:lt2>
        <a:srgbClr val="FFFFFF"/>
      </a:lt2>
      <a:accent1>
        <a:srgbClr val="A83D72"/>
      </a:accent1>
      <a:accent2>
        <a:srgbClr val="35647D"/>
      </a:accent2>
      <a:accent3>
        <a:srgbClr val="7F7F7F"/>
      </a:accent3>
      <a:accent4>
        <a:srgbClr val="FF9E15"/>
      </a:accent4>
      <a:accent5>
        <a:srgbClr val="00A6CE"/>
      </a:accent5>
      <a:accent6>
        <a:srgbClr val="414141"/>
      </a:accent6>
      <a:hlink>
        <a:srgbClr val="02AED9"/>
      </a:hlink>
      <a:folHlink>
        <a:srgbClr val="5D87A0"/>
      </a:folHlink>
    </a:clrScheme>
    <a:fontScheme name="Calibri-Cambria">
      <a:majorFont>
        <a:latin typeface="Calibri" panose="020F0502020204030204"/>
        <a:ea typeface=""/>
        <a:cs typeface=""/>
        <a:font script="Jpan" typeface="HGｺﾞｼｯｸM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mbria" panose="02040503050406030204"/>
        <a:ea typeface=""/>
        <a:cs typeface=""/>
        <a:font script="Jpan" typeface="HG明朝B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C-PresStyle-templt_16x9_R1" id="{51D6392F-5A7F-CB4F-9DE8-8696799F2EFA}" vid="{5486EF8B-FC96-5247-AD1A-A78065CCDA6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MI Consulting - Presentation 16x9</Template>
  <TotalTime>1155</TotalTime>
  <Words>738</Words>
  <Application>Microsoft Macintosh PowerPoint</Application>
  <PresentationFormat>On-screen Show (16:9)</PresentationFormat>
  <Paragraphs>147</Paragraphs>
  <Slides>18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</vt:lpstr>
      <vt:lpstr>Calibri</vt:lpstr>
      <vt:lpstr>Cambria</vt:lpstr>
      <vt:lpstr>Wingdings</vt:lpstr>
      <vt:lpstr>Presentation Style - Data </vt:lpstr>
      <vt:lpstr>Impact Slides</vt:lpstr>
      <vt:lpstr>WomenTechWomenYes : Summer Gala Fundraising Strategy</vt:lpstr>
      <vt:lpstr>Summary</vt:lpstr>
      <vt:lpstr>How do we target, identify, and capture potential major donors?</vt:lpstr>
      <vt:lpstr>PowerPoint Presentation</vt:lpstr>
      <vt:lpstr>PowerPoint Presentation</vt:lpstr>
      <vt:lpstr>Let’s play first with the MTA Turnstiles data : Top 10 stations by traffic</vt:lpstr>
      <vt:lpstr>This is cool, but what if we include some demographics into the analysis?</vt:lpstr>
      <vt:lpstr>ACS Data: We want zip codes with high incomes and commuters by public transportation</vt:lpstr>
      <vt:lpstr>To find the station with the best combination between traffic, income, and commuters a scorecard was created</vt:lpstr>
      <vt:lpstr>A point ranking system (scorecard) with different weights for the attributes was used to find the top 5 stations</vt:lpstr>
      <vt:lpstr>Now we have the top locations let’s find the best time frames</vt:lpstr>
      <vt:lpstr>The top 5 stations have a favorable ratio of traffic, income and commuters</vt:lpstr>
      <vt:lpstr>PowerPoint Presentation</vt:lpstr>
      <vt:lpstr>Key Takeaways</vt:lpstr>
      <vt:lpstr>PowerPoint Presentation</vt:lpstr>
      <vt:lpstr>PowerPoint Presentation</vt:lpstr>
      <vt:lpstr>Wednesdays and Thursdays tend to have a slightly higher traffic than the rest of the day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age Placement Instructions</dc:title>
  <dc:creator>Karinne Lelouch</dc:creator>
  <cp:lastModifiedBy>Elvis Davalillo</cp:lastModifiedBy>
  <cp:revision>48</cp:revision>
  <dcterms:created xsi:type="dcterms:W3CDTF">2017-08-07T15:57:58Z</dcterms:created>
  <dcterms:modified xsi:type="dcterms:W3CDTF">2019-07-08T14:17:00Z</dcterms:modified>
</cp:coreProperties>
</file>